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v" ContentType="video/x-ms-wmv"/>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68"/>
  </p:notesMasterIdLst>
  <p:handoutMasterIdLst>
    <p:handoutMasterId r:id="rId69"/>
  </p:handoutMasterIdLst>
  <p:sldIdLst>
    <p:sldId id="257" r:id="rId5"/>
    <p:sldId id="274" r:id="rId6"/>
    <p:sldId id="336" r:id="rId7"/>
    <p:sldId id="276" r:id="rId8"/>
    <p:sldId id="277" r:id="rId9"/>
    <p:sldId id="278" r:id="rId10"/>
    <p:sldId id="279" r:id="rId11"/>
    <p:sldId id="280" r:id="rId12"/>
    <p:sldId id="281" r:id="rId13"/>
    <p:sldId id="283" r:id="rId14"/>
    <p:sldId id="282" r:id="rId15"/>
    <p:sldId id="284" r:id="rId16"/>
    <p:sldId id="285" r:id="rId17"/>
    <p:sldId id="288" r:id="rId18"/>
    <p:sldId id="287" r:id="rId19"/>
    <p:sldId id="286" r:id="rId20"/>
    <p:sldId id="290" r:id="rId21"/>
    <p:sldId id="289" r:id="rId22"/>
    <p:sldId id="292" r:id="rId23"/>
    <p:sldId id="291" r:id="rId24"/>
    <p:sldId id="293" r:id="rId25"/>
    <p:sldId id="295" r:id="rId26"/>
    <p:sldId id="296" r:id="rId27"/>
    <p:sldId id="294" r:id="rId28"/>
    <p:sldId id="298" r:id="rId29"/>
    <p:sldId id="297" r:id="rId30"/>
    <p:sldId id="299" r:id="rId31"/>
    <p:sldId id="300" r:id="rId32"/>
    <p:sldId id="301" r:id="rId33"/>
    <p:sldId id="302" r:id="rId34"/>
    <p:sldId id="303" r:id="rId35"/>
    <p:sldId id="305" r:id="rId36"/>
    <p:sldId id="304" r:id="rId37"/>
    <p:sldId id="307" r:id="rId38"/>
    <p:sldId id="319" r:id="rId39"/>
    <p:sldId id="309" r:id="rId40"/>
    <p:sldId id="308" r:id="rId41"/>
    <p:sldId id="306" r:id="rId42"/>
    <p:sldId id="310" r:id="rId43"/>
    <p:sldId id="314" r:id="rId44"/>
    <p:sldId id="311" r:id="rId45"/>
    <p:sldId id="313" r:id="rId46"/>
    <p:sldId id="312" r:id="rId47"/>
    <p:sldId id="316" r:id="rId48"/>
    <p:sldId id="317" r:id="rId49"/>
    <p:sldId id="318" r:id="rId50"/>
    <p:sldId id="315" r:id="rId51"/>
    <p:sldId id="323" r:id="rId52"/>
    <p:sldId id="322" r:id="rId53"/>
    <p:sldId id="324" r:id="rId54"/>
    <p:sldId id="321" r:id="rId55"/>
    <p:sldId id="320" r:id="rId56"/>
    <p:sldId id="327" r:id="rId57"/>
    <p:sldId id="326" r:id="rId58"/>
    <p:sldId id="325" r:id="rId59"/>
    <p:sldId id="330" r:id="rId60"/>
    <p:sldId id="329" r:id="rId61"/>
    <p:sldId id="328" r:id="rId62"/>
    <p:sldId id="332" r:id="rId63"/>
    <p:sldId id="331" r:id="rId64"/>
    <p:sldId id="334" r:id="rId65"/>
    <p:sldId id="337" r:id="rId66"/>
    <p:sldId id="335" r:id="rId67"/>
  </p:sldIdLst>
  <p:sldSz cx="12195175" cy="6859588"/>
  <p:notesSz cx="6858000" cy="9144000"/>
  <p:custDataLst>
    <p:tags r:id="rId70"/>
  </p:custDataLst>
  <p:defaultTextStyle>
    <a:defPPr>
      <a:defRPr lang="nb-NO"/>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1">
          <p15:clr>
            <a:srgbClr val="A4A3A4"/>
          </p15:clr>
        </p15:guide>
        <p15:guide id="2" pos="384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6D72"/>
    <a:srgbClr val="267D5C"/>
    <a:srgbClr val="676767"/>
    <a:srgbClr val="60B28A"/>
    <a:srgbClr val="35B6C0"/>
    <a:srgbClr val="C8373C"/>
    <a:srgbClr val="FCFCFC"/>
    <a:srgbClr val="FFF0AF"/>
    <a:srgbClr val="85868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0EAD59-8699-4C28-87D8-BB7D1AE06AFA}" v="56" dt="2021-05-31T14:37:37.33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43" autoAdjust="0"/>
    <p:restoredTop sz="90058" autoAdjust="0"/>
  </p:normalViewPr>
  <p:slideViewPr>
    <p:cSldViewPr snapToObjects="1">
      <p:cViewPr varScale="1">
        <p:scale>
          <a:sx n="56" d="100"/>
          <a:sy n="56" d="100"/>
        </p:scale>
        <p:origin x="1072" y="52"/>
      </p:cViewPr>
      <p:guideLst>
        <p:guide orient="horz" pos="2161"/>
        <p:guide pos="3841"/>
      </p:guideLst>
    </p:cSldViewPr>
  </p:slideViewPr>
  <p:outlineViewPr>
    <p:cViewPr>
      <p:scale>
        <a:sx n="33" d="100"/>
        <a:sy n="33" d="100"/>
      </p:scale>
      <p:origin x="0" y="-5336"/>
    </p:cViewPr>
  </p:outlineViewPr>
  <p:notesTextViewPr>
    <p:cViewPr>
      <p:scale>
        <a:sx n="3" d="2"/>
        <a:sy n="3" d="2"/>
      </p:scale>
      <p:origin x="0" y="0"/>
    </p:cViewPr>
  </p:notesTextViewPr>
  <p:notesViewPr>
    <p:cSldViewPr snapToObjects="1">
      <p:cViewPr varScale="1">
        <p:scale>
          <a:sx n="47" d="100"/>
          <a:sy n="47" d="100"/>
        </p:scale>
        <p:origin x="532" y="6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ags" Target="tags/tag1.xml"/><Relationship Id="rId75"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lin Andersen" userId="67895919-1e14-47ad-aa24-7fe5f76b678e" providerId="ADAL" clId="{8A5AE5AB-D729-47A1-A75F-BB73D32E414B}"/>
    <pc:docChg chg="custSel addSld modSld sldOrd">
      <pc:chgData name="Malin Andersen" userId="67895919-1e14-47ad-aa24-7fe5f76b678e" providerId="ADAL" clId="{8A5AE5AB-D729-47A1-A75F-BB73D32E414B}" dt="2020-11-17T20:47:31.744" v="207" actId="20577"/>
      <pc:docMkLst>
        <pc:docMk/>
      </pc:docMkLst>
      <pc:sldChg chg="addSp delSp modSp modNotes modNotesTx">
        <pc:chgData name="Malin Andersen" userId="67895919-1e14-47ad-aa24-7fe5f76b678e" providerId="ADAL" clId="{8A5AE5AB-D729-47A1-A75F-BB73D32E414B}" dt="2020-11-17T10:55:07.156" v="20" actId="27614"/>
        <pc:sldMkLst>
          <pc:docMk/>
          <pc:sldMk cId="2743620936" sldId="280"/>
        </pc:sldMkLst>
        <pc:spChg chg="del">
          <ac:chgData name="Malin Andersen" userId="67895919-1e14-47ad-aa24-7fe5f76b678e" providerId="ADAL" clId="{8A5AE5AB-D729-47A1-A75F-BB73D32E414B}" dt="2020-11-17T10:52:37.081" v="0"/>
          <ac:spMkLst>
            <pc:docMk/>
            <pc:sldMk cId="2743620936" sldId="280"/>
            <ac:spMk id="2" creationId="{FDD412DA-3528-4B00-9095-BF6879F1BB10}"/>
          </ac:spMkLst>
        </pc:spChg>
        <pc:spChg chg="del">
          <ac:chgData name="Malin Andersen" userId="67895919-1e14-47ad-aa24-7fe5f76b678e" providerId="ADAL" clId="{8A5AE5AB-D729-47A1-A75F-BB73D32E414B}" dt="2020-11-17T10:52:37.081" v="0"/>
          <ac:spMkLst>
            <pc:docMk/>
            <pc:sldMk cId="2743620936" sldId="280"/>
            <ac:spMk id="3" creationId="{69098B97-EB6B-4990-83FD-D07CB0632888}"/>
          </ac:spMkLst>
        </pc:spChg>
        <pc:spChg chg="add mod">
          <ac:chgData name="Malin Andersen" userId="67895919-1e14-47ad-aa24-7fe5f76b678e" providerId="ADAL" clId="{8A5AE5AB-D729-47A1-A75F-BB73D32E414B}" dt="2020-11-17T10:54:00.908" v="18" actId="20577"/>
          <ac:spMkLst>
            <pc:docMk/>
            <pc:sldMk cId="2743620936" sldId="280"/>
            <ac:spMk id="4" creationId="{4C3ABF9D-3390-4B1E-9A18-52200B6A3DDF}"/>
          </ac:spMkLst>
        </pc:spChg>
        <pc:spChg chg="add del mod">
          <ac:chgData name="Malin Andersen" userId="67895919-1e14-47ad-aa24-7fe5f76b678e" providerId="ADAL" clId="{8A5AE5AB-D729-47A1-A75F-BB73D32E414B}" dt="2020-11-17T10:55:00.766" v="19" actId="931"/>
          <ac:spMkLst>
            <pc:docMk/>
            <pc:sldMk cId="2743620936" sldId="280"/>
            <ac:spMk id="5" creationId="{688E3FAA-6D1B-405A-B372-4F8A835AE4CF}"/>
          </ac:spMkLst>
        </pc:spChg>
        <pc:picChg chg="add mod">
          <ac:chgData name="Malin Andersen" userId="67895919-1e14-47ad-aa24-7fe5f76b678e" providerId="ADAL" clId="{8A5AE5AB-D729-47A1-A75F-BB73D32E414B}" dt="2020-11-17T10:55:07.156" v="20" actId="27614"/>
          <ac:picMkLst>
            <pc:docMk/>
            <pc:sldMk cId="2743620936" sldId="280"/>
            <ac:picMk id="7" creationId="{B6AB0D83-7045-4965-AA91-A572837B1C06}"/>
          </ac:picMkLst>
        </pc:picChg>
      </pc:sldChg>
      <pc:sldChg chg="addSp delSp modSp modNotesTx">
        <pc:chgData name="Malin Andersen" userId="67895919-1e14-47ad-aa24-7fe5f76b678e" providerId="ADAL" clId="{8A5AE5AB-D729-47A1-A75F-BB73D32E414B}" dt="2020-11-17T10:59:17.047" v="42" actId="113"/>
        <pc:sldMkLst>
          <pc:docMk/>
          <pc:sldMk cId="628652379" sldId="281"/>
        </pc:sldMkLst>
        <pc:spChg chg="del">
          <ac:chgData name="Malin Andersen" userId="67895919-1e14-47ad-aa24-7fe5f76b678e" providerId="ADAL" clId="{8A5AE5AB-D729-47A1-A75F-BB73D32E414B}" dt="2020-11-17T10:57:39.258" v="34" actId="931"/>
          <ac:spMkLst>
            <pc:docMk/>
            <pc:sldMk cId="628652379" sldId="281"/>
            <ac:spMk id="2" creationId="{0F87D800-9218-4975-BB8D-AE2D86B21309}"/>
          </ac:spMkLst>
        </pc:spChg>
        <pc:spChg chg="mod">
          <ac:chgData name="Malin Andersen" userId="67895919-1e14-47ad-aa24-7fe5f76b678e" providerId="ADAL" clId="{8A5AE5AB-D729-47A1-A75F-BB73D32E414B}" dt="2020-11-17T10:57:20.457" v="33" actId="20577"/>
          <ac:spMkLst>
            <pc:docMk/>
            <pc:sldMk cId="628652379" sldId="281"/>
            <ac:spMk id="3" creationId="{C68CA945-487B-4A03-832E-10C0A483CBDE}"/>
          </ac:spMkLst>
        </pc:spChg>
        <pc:picChg chg="add mod modCrop">
          <ac:chgData name="Malin Andersen" userId="67895919-1e14-47ad-aa24-7fe5f76b678e" providerId="ADAL" clId="{8A5AE5AB-D729-47A1-A75F-BB73D32E414B}" dt="2020-11-17T10:58:48.732" v="40" actId="732"/>
          <ac:picMkLst>
            <pc:docMk/>
            <pc:sldMk cId="628652379" sldId="281"/>
            <ac:picMk id="5" creationId="{367AD4B9-9C10-4DEA-83DA-D396653CBCBA}"/>
          </ac:picMkLst>
        </pc:picChg>
      </pc:sldChg>
      <pc:sldChg chg="addSp delSp modSp add modNotesTx">
        <pc:chgData name="Malin Andersen" userId="67895919-1e14-47ad-aa24-7fe5f76b678e" providerId="ADAL" clId="{8A5AE5AB-D729-47A1-A75F-BB73D32E414B}" dt="2020-11-17T19:30:28.633" v="75" actId="255"/>
        <pc:sldMkLst>
          <pc:docMk/>
          <pc:sldMk cId="1921485719" sldId="282"/>
        </pc:sldMkLst>
        <pc:spChg chg="del">
          <ac:chgData name="Malin Andersen" userId="67895919-1e14-47ad-aa24-7fe5f76b678e" providerId="ADAL" clId="{8A5AE5AB-D729-47A1-A75F-BB73D32E414B}" dt="2020-11-17T19:27:31.830" v="49"/>
          <ac:spMkLst>
            <pc:docMk/>
            <pc:sldMk cId="1921485719" sldId="282"/>
            <ac:spMk id="2" creationId="{1F3EB0FE-1E5C-4E47-9120-B6FCE78D2552}"/>
          </ac:spMkLst>
        </pc:spChg>
        <pc:spChg chg="del">
          <ac:chgData name="Malin Andersen" userId="67895919-1e14-47ad-aa24-7fe5f76b678e" providerId="ADAL" clId="{8A5AE5AB-D729-47A1-A75F-BB73D32E414B}" dt="2020-11-17T19:27:31.830" v="49"/>
          <ac:spMkLst>
            <pc:docMk/>
            <pc:sldMk cId="1921485719" sldId="282"/>
            <ac:spMk id="3" creationId="{90BC26AA-441C-4AE6-91A9-BBE12B538699}"/>
          </ac:spMkLst>
        </pc:spChg>
        <pc:spChg chg="add mod">
          <ac:chgData name="Malin Andersen" userId="67895919-1e14-47ad-aa24-7fe5f76b678e" providerId="ADAL" clId="{8A5AE5AB-D729-47A1-A75F-BB73D32E414B}" dt="2020-11-17T19:29:18.450" v="69" actId="1076"/>
          <ac:spMkLst>
            <pc:docMk/>
            <pc:sldMk cId="1921485719" sldId="282"/>
            <ac:spMk id="4" creationId="{4D755D44-9CAF-4D6B-AD39-3AC81F201A11}"/>
          </ac:spMkLst>
        </pc:spChg>
        <pc:spChg chg="add del mod">
          <ac:chgData name="Malin Andersen" userId="67895919-1e14-47ad-aa24-7fe5f76b678e" providerId="ADAL" clId="{8A5AE5AB-D729-47A1-A75F-BB73D32E414B}" dt="2020-11-17T19:28:32.976" v="50" actId="931"/>
          <ac:spMkLst>
            <pc:docMk/>
            <pc:sldMk cId="1921485719" sldId="282"/>
            <ac:spMk id="5" creationId="{D6D97617-9160-4963-B395-A940FE013932}"/>
          </ac:spMkLst>
        </pc:spChg>
        <pc:picChg chg="add mod">
          <ac:chgData name="Malin Andersen" userId="67895919-1e14-47ad-aa24-7fe5f76b678e" providerId="ADAL" clId="{8A5AE5AB-D729-47A1-A75F-BB73D32E414B}" dt="2020-11-17T19:28:32.976" v="50" actId="931"/>
          <ac:picMkLst>
            <pc:docMk/>
            <pc:sldMk cId="1921485719" sldId="282"/>
            <ac:picMk id="7" creationId="{E173B840-984B-4A09-AF61-EDDF62CACCA8}"/>
          </ac:picMkLst>
        </pc:picChg>
      </pc:sldChg>
      <pc:sldChg chg="add ord modNotesTx">
        <pc:chgData name="Malin Andersen" userId="67895919-1e14-47ad-aa24-7fe5f76b678e" providerId="ADAL" clId="{8A5AE5AB-D729-47A1-A75F-BB73D32E414B}" dt="2020-11-17T19:21:44.560" v="48" actId="2711"/>
        <pc:sldMkLst>
          <pc:docMk/>
          <pc:sldMk cId="1523350470" sldId="283"/>
        </pc:sldMkLst>
      </pc:sldChg>
      <pc:sldChg chg="addSp delSp modSp add modNotesTx">
        <pc:chgData name="Malin Andersen" userId="67895919-1e14-47ad-aa24-7fe5f76b678e" providerId="ADAL" clId="{8A5AE5AB-D729-47A1-A75F-BB73D32E414B}" dt="2020-11-17T19:33:04.495" v="90" actId="113"/>
        <pc:sldMkLst>
          <pc:docMk/>
          <pc:sldMk cId="3462993812" sldId="284"/>
        </pc:sldMkLst>
        <pc:spChg chg="del">
          <ac:chgData name="Malin Andersen" userId="67895919-1e14-47ad-aa24-7fe5f76b678e" providerId="ADAL" clId="{8A5AE5AB-D729-47A1-A75F-BB73D32E414B}" dt="2020-11-17T19:31:01.794" v="77"/>
          <ac:spMkLst>
            <pc:docMk/>
            <pc:sldMk cId="3462993812" sldId="284"/>
            <ac:spMk id="2" creationId="{5A9B3AAC-110B-4866-9114-8A255FF6BD45}"/>
          </ac:spMkLst>
        </pc:spChg>
        <pc:spChg chg="del">
          <ac:chgData name="Malin Andersen" userId="67895919-1e14-47ad-aa24-7fe5f76b678e" providerId="ADAL" clId="{8A5AE5AB-D729-47A1-A75F-BB73D32E414B}" dt="2020-11-17T19:31:01.794" v="77"/>
          <ac:spMkLst>
            <pc:docMk/>
            <pc:sldMk cId="3462993812" sldId="284"/>
            <ac:spMk id="3" creationId="{255FAC14-B918-47BD-8603-4B8A75B8E05D}"/>
          </ac:spMkLst>
        </pc:spChg>
        <pc:spChg chg="add mod">
          <ac:chgData name="Malin Andersen" userId="67895919-1e14-47ad-aa24-7fe5f76b678e" providerId="ADAL" clId="{8A5AE5AB-D729-47A1-A75F-BB73D32E414B}" dt="2020-11-17T19:31:09.898" v="85" actId="20577"/>
          <ac:spMkLst>
            <pc:docMk/>
            <pc:sldMk cId="3462993812" sldId="284"/>
            <ac:spMk id="4" creationId="{18CE9FE0-B7EC-4187-8ECD-269E4DD97156}"/>
          </ac:spMkLst>
        </pc:spChg>
        <pc:spChg chg="add del mod">
          <ac:chgData name="Malin Andersen" userId="67895919-1e14-47ad-aa24-7fe5f76b678e" providerId="ADAL" clId="{8A5AE5AB-D729-47A1-A75F-BB73D32E414B}" dt="2020-11-17T19:31:49.809" v="86" actId="931"/>
          <ac:spMkLst>
            <pc:docMk/>
            <pc:sldMk cId="3462993812" sldId="284"/>
            <ac:spMk id="5" creationId="{9FC9794E-C47E-4AD1-970A-30D336E3B4E8}"/>
          </ac:spMkLst>
        </pc:spChg>
        <pc:spChg chg="add del mod">
          <ac:chgData name="Malin Andersen" userId="67895919-1e14-47ad-aa24-7fe5f76b678e" providerId="ADAL" clId="{8A5AE5AB-D729-47A1-A75F-BB73D32E414B}" dt="2020-11-17T19:32:10.421" v="87" actId="931"/>
          <ac:spMkLst>
            <pc:docMk/>
            <pc:sldMk cId="3462993812" sldId="284"/>
            <ac:spMk id="6" creationId="{39FAFAC4-00AC-4F07-9917-5C621CABB290}"/>
          </ac:spMkLst>
        </pc:spChg>
        <pc:picChg chg="add mod">
          <ac:chgData name="Malin Andersen" userId="67895919-1e14-47ad-aa24-7fe5f76b678e" providerId="ADAL" clId="{8A5AE5AB-D729-47A1-A75F-BB73D32E414B}" dt="2020-11-17T19:31:49.809" v="86" actId="931"/>
          <ac:picMkLst>
            <pc:docMk/>
            <pc:sldMk cId="3462993812" sldId="284"/>
            <ac:picMk id="8" creationId="{778C3AE4-0C1B-4A41-94DC-185A81D6A117}"/>
          </ac:picMkLst>
        </pc:picChg>
        <pc:picChg chg="add mod">
          <ac:chgData name="Malin Andersen" userId="67895919-1e14-47ad-aa24-7fe5f76b678e" providerId="ADAL" clId="{8A5AE5AB-D729-47A1-A75F-BB73D32E414B}" dt="2020-11-17T19:32:10.421" v="87" actId="931"/>
          <ac:picMkLst>
            <pc:docMk/>
            <pc:sldMk cId="3462993812" sldId="284"/>
            <ac:picMk id="10" creationId="{8FA9ACAA-FE63-4D27-BF47-0BCE1267B08A}"/>
          </ac:picMkLst>
        </pc:picChg>
      </pc:sldChg>
      <pc:sldChg chg="addSp delSp modSp add modNotesTx">
        <pc:chgData name="Malin Andersen" userId="67895919-1e14-47ad-aa24-7fe5f76b678e" providerId="ADAL" clId="{8A5AE5AB-D729-47A1-A75F-BB73D32E414B}" dt="2020-11-17T19:46:12.349" v="115" actId="931"/>
        <pc:sldMkLst>
          <pc:docMk/>
          <pc:sldMk cId="2994811991" sldId="285"/>
        </pc:sldMkLst>
        <pc:spChg chg="del">
          <ac:chgData name="Malin Andersen" userId="67895919-1e14-47ad-aa24-7fe5f76b678e" providerId="ADAL" clId="{8A5AE5AB-D729-47A1-A75F-BB73D32E414B}" dt="2020-11-17T19:40:29.165" v="92"/>
          <ac:spMkLst>
            <pc:docMk/>
            <pc:sldMk cId="2994811991" sldId="285"/>
            <ac:spMk id="2" creationId="{225096E0-2169-46E6-BCD8-6E8148A8D10E}"/>
          </ac:spMkLst>
        </pc:spChg>
        <pc:spChg chg="del">
          <ac:chgData name="Malin Andersen" userId="67895919-1e14-47ad-aa24-7fe5f76b678e" providerId="ADAL" clId="{8A5AE5AB-D729-47A1-A75F-BB73D32E414B}" dt="2020-11-17T19:40:29.165" v="92"/>
          <ac:spMkLst>
            <pc:docMk/>
            <pc:sldMk cId="2994811991" sldId="285"/>
            <ac:spMk id="3" creationId="{568920CD-FBF4-461E-9EBC-744420987F6C}"/>
          </ac:spMkLst>
        </pc:spChg>
        <pc:spChg chg="del">
          <ac:chgData name="Malin Andersen" userId="67895919-1e14-47ad-aa24-7fe5f76b678e" providerId="ADAL" clId="{8A5AE5AB-D729-47A1-A75F-BB73D32E414B}" dt="2020-11-17T19:40:29.165" v="92"/>
          <ac:spMkLst>
            <pc:docMk/>
            <pc:sldMk cId="2994811991" sldId="285"/>
            <ac:spMk id="4" creationId="{19B16B04-307E-4782-8FC4-718001B2852A}"/>
          </ac:spMkLst>
        </pc:spChg>
        <pc:spChg chg="add mod">
          <ac:chgData name="Malin Andersen" userId="67895919-1e14-47ad-aa24-7fe5f76b678e" providerId="ADAL" clId="{8A5AE5AB-D729-47A1-A75F-BB73D32E414B}" dt="2020-11-17T19:41:28.834" v="99" actId="20577"/>
          <ac:spMkLst>
            <pc:docMk/>
            <pc:sldMk cId="2994811991" sldId="285"/>
            <ac:spMk id="5" creationId="{1C9471BA-DBFC-4547-9463-F511E4B7694D}"/>
          </ac:spMkLst>
        </pc:spChg>
        <pc:spChg chg="add del mod">
          <ac:chgData name="Malin Andersen" userId="67895919-1e14-47ad-aa24-7fe5f76b678e" providerId="ADAL" clId="{8A5AE5AB-D729-47A1-A75F-BB73D32E414B}" dt="2020-11-17T19:46:12.349" v="115" actId="931"/>
          <ac:spMkLst>
            <pc:docMk/>
            <pc:sldMk cId="2994811991" sldId="285"/>
            <ac:spMk id="6" creationId="{84CE1EB6-AF7A-42DC-9900-9D0D201A3C6B}"/>
          </ac:spMkLst>
        </pc:spChg>
        <pc:spChg chg="add del mod">
          <ac:chgData name="Malin Andersen" userId="67895919-1e14-47ad-aa24-7fe5f76b678e" providerId="ADAL" clId="{8A5AE5AB-D729-47A1-A75F-BB73D32E414B}" dt="2020-11-17T19:42:00.264" v="103" actId="931"/>
          <ac:spMkLst>
            <pc:docMk/>
            <pc:sldMk cId="2994811991" sldId="285"/>
            <ac:spMk id="7" creationId="{B4A5AEF3-1367-424A-ACF2-E68797566A8D}"/>
          </ac:spMkLst>
        </pc:spChg>
        <pc:picChg chg="add mod">
          <ac:chgData name="Malin Andersen" userId="67895919-1e14-47ad-aa24-7fe5f76b678e" providerId="ADAL" clId="{8A5AE5AB-D729-47A1-A75F-BB73D32E414B}" dt="2020-11-17T19:42:00.264" v="103" actId="931"/>
          <ac:picMkLst>
            <pc:docMk/>
            <pc:sldMk cId="2994811991" sldId="285"/>
            <ac:picMk id="9" creationId="{DB2A4937-D7A0-4F51-A57D-795CA1DF18FD}"/>
          </ac:picMkLst>
        </pc:picChg>
        <pc:picChg chg="add mod">
          <ac:chgData name="Malin Andersen" userId="67895919-1e14-47ad-aa24-7fe5f76b678e" providerId="ADAL" clId="{8A5AE5AB-D729-47A1-A75F-BB73D32E414B}" dt="2020-11-17T19:46:12.349" v="115" actId="931"/>
          <ac:picMkLst>
            <pc:docMk/>
            <pc:sldMk cId="2994811991" sldId="285"/>
            <ac:picMk id="11" creationId="{E562F9BD-178D-4E33-98AA-CF79B2EF360C}"/>
          </ac:picMkLst>
        </pc:picChg>
      </pc:sldChg>
      <pc:sldChg chg="addSp delSp modSp add modNotesTx">
        <pc:chgData name="Malin Andersen" userId="67895919-1e14-47ad-aa24-7fe5f76b678e" providerId="ADAL" clId="{8A5AE5AB-D729-47A1-A75F-BB73D32E414B}" dt="2020-11-17T19:58:36.856" v="183" actId="20577"/>
        <pc:sldMkLst>
          <pc:docMk/>
          <pc:sldMk cId="638997338" sldId="286"/>
        </pc:sldMkLst>
        <pc:spChg chg="mod">
          <ac:chgData name="Malin Andersen" userId="67895919-1e14-47ad-aa24-7fe5f76b678e" providerId="ADAL" clId="{8A5AE5AB-D729-47A1-A75F-BB73D32E414B}" dt="2020-11-17T19:54:12.452" v="148" actId="20577"/>
          <ac:spMkLst>
            <pc:docMk/>
            <pc:sldMk cId="638997338" sldId="286"/>
            <ac:spMk id="5" creationId="{1C9471BA-DBFC-4547-9463-F511E4B7694D}"/>
          </ac:spMkLst>
        </pc:spChg>
        <pc:spChg chg="del">
          <ac:chgData name="Malin Andersen" userId="67895919-1e14-47ad-aa24-7fe5f76b678e" providerId="ADAL" clId="{8A5AE5AB-D729-47A1-A75F-BB73D32E414B}" dt="2020-11-17T19:48:06.523" v="121" actId="931"/>
          <ac:spMkLst>
            <pc:docMk/>
            <pc:sldMk cId="638997338" sldId="286"/>
            <ac:spMk id="6" creationId="{84CE1EB6-AF7A-42DC-9900-9D0D201A3C6B}"/>
          </ac:spMkLst>
        </pc:spChg>
        <pc:spChg chg="del">
          <ac:chgData name="Malin Andersen" userId="67895919-1e14-47ad-aa24-7fe5f76b678e" providerId="ADAL" clId="{8A5AE5AB-D729-47A1-A75F-BB73D32E414B}" dt="2020-11-17T19:42:42.445" v="108" actId="931"/>
          <ac:spMkLst>
            <pc:docMk/>
            <pc:sldMk cId="638997338" sldId="286"/>
            <ac:spMk id="7" creationId="{B4A5AEF3-1367-424A-ACF2-E68797566A8D}"/>
          </ac:spMkLst>
        </pc:spChg>
        <pc:picChg chg="add mod">
          <ac:chgData name="Malin Andersen" userId="67895919-1e14-47ad-aa24-7fe5f76b678e" providerId="ADAL" clId="{8A5AE5AB-D729-47A1-A75F-BB73D32E414B}" dt="2020-11-17T19:42:42.445" v="108" actId="931"/>
          <ac:picMkLst>
            <pc:docMk/>
            <pc:sldMk cId="638997338" sldId="286"/>
            <ac:picMk id="3" creationId="{E36A2DDC-8168-4D3B-B847-4634566F9BF2}"/>
          </ac:picMkLst>
        </pc:picChg>
        <pc:picChg chg="add mod">
          <ac:chgData name="Malin Andersen" userId="67895919-1e14-47ad-aa24-7fe5f76b678e" providerId="ADAL" clId="{8A5AE5AB-D729-47A1-A75F-BB73D32E414B}" dt="2020-11-17T19:48:12.913" v="123" actId="962"/>
          <ac:picMkLst>
            <pc:docMk/>
            <pc:sldMk cId="638997338" sldId="286"/>
            <ac:picMk id="8" creationId="{FA5ED9B8-0C67-4184-8EA1-FDB167E9F1A7}"/>
          </ac:picMkLst>
        </pc:picChg>
      </pc:sldChg>
      <pc:sldChg chg="addSp delSp modSp add modNotes modNotesTx">
        <pc:chgData name="Malin Andersen" userId="67895919-1e14-47ad-aa24-7fe5f76b678e" providerId="ADAL" clId="{8A5AE5AB-D729-47A1-A75F-BB73D32E414B}" dt="2020-11-17T19:56:34.020" v="180" actId="12"/>
        <pc:sldMkLst>
          <pc:docMk/>
          <pc:sldMk cId="3451188360" sldId="287"/>
        </pc:sldMkLst>
        <pc:spChg chg="mod">
          <ac:chgData name="Malin Andersen" userId="67895919-1e14-47ad-aa24-7fe5f76b678e" providerId="ADAL" clId="{8A5AE5AB-D729-47A1-A75F-BB73D32E414B}" dt="2020-11-17T19:54:08.002" v="145" actId="20577"/>
          <ac:spMkLst>
            <pc:docMk/>
            <pc:sldMk cId="3451188360" sldId="287"/>
            <ac:spMk id="5" creationId="{1C9471BA-DBFC-4547-9463-F511E4B7694D}"/>
          </ac:spMkLst>
        </pc:spChg>
        <pc:spChg chg="del">
          <ac:chgData name="Malin Andersen" userId="67895919-1e14-47ad-aa24-7fe5f76b678e" providerId="ADAL" clId="{8A5AE5AB-D729-47A1-A75F-BB73D32E414B}" dt="2020-11-17T19:47:43.743" v="119" actId="931"/>
          <ac:spMkLst>
            <pc:docMk/>
            <pc:sldMk cId="3451188360" sldId="287"/>
            <ac:spMk id="6" creationId="{84CE1EB6-AF7A-42DC-9900-9D0D201A3C6B}"/>
          </ac:spMkLst>
        </pc:spChg>
        <pc:spChg chg="del">
          <ac:chgData name="Malin Andersen" userId="67895919-1e14-47ad-aa24-7fe5f76b678e" providerId="ADAL" clId="{8A5AE5AB-D729-47A1-A75F-BB73D32E414B}" dt="2020-11-17T19:42:27.156" v="105" actId="931"/>
          <ac:spMkLst>
            <pc:docMk/>
            <pc:sldMk cId="3451188360" sldId="287"/>
            <ac:spMk id="7" creationId="{B4A5AEF3-1367-424A-ACF2-E68797566A8D}"/>
          </ac:spMkLst>
        </pc:spChg>
        <pc:picChg chg="add mod">
          <ac:chgData name="Malin Andersen" userId="67895919-1e14-47ad-aa24-7fe5f76b678e" providerId="ADAL" clId="{8A5AE5AB-D729-47A1-A75F-BB73D32E414B}" dt="2020-11-17T19:42:27.156" v="105" actId="931"/>
          <ac:picMkLst>
            <pc:docMk/>
            <pc:sldMk cId="3451188360" sldId="287"/>
            <ac:picMk id="3" creationId="{9D4BF5FF-B302-4E4A-B3E5-C10D617DCCED}"/>
          </ac:picMkLst>
        </pc:picChg>
        <pc:picChg chg="add mod">
          <ac:chgData name="Malin Andersen" userId="67895919-1e14-47ad-aa24-7fe5f76b678e" providerId="ADAL" clId="{8A5AE5AB-D729-47A1-A75F-BB73D32E414B}" dt="2020-11-17T19:47:50.454" v="120" actId="27614"/>
          <ac:picMkLst>
            <pc:docMk/>
            <pc:sldMk cId="3451188360" sldId="287"/>
            <ac:picMk id="8" creationId="{2ED30614-6148-42CD-9E71-EB7CAB683CDF}"/>
          </ac:picMkLst>
        </pc:picChg>
      </pc:sldChg>
      <pc:sldChg chg="addSp delSp modSp add modNotesTx">
        <pc:chgData name="Malin Andersen" userId="67895919-1e14-47ad-aa24-7fe5f76b678e" providerId="ADAL" clId="{8A5AE5AB-D729-47A1-A75F-BB73D32E414B}" dt="2020-11-17T19:55:47.480" v="172" actId="113"/>
        <pc:sldMkLst>
          <pc:docMk/>
          <pc:sldMk cId="652308430" sldId="288"/>
        </pc:sldMkLst>
        <pc:spChg chg="mod">
          <ac:chgData name="Malin Andersen" userId="67895919-1e14-47ad-aa24-7fe5f76b678e" providerId="ADAL" clId="{8A5AE5AB-D729-47A1-A75F-BB73D32E414B}" dt="2020-11-17T19:54:03.737" v="141" actId="20577"/>
          <ac:spMkLst>
            <pc:docMk/>
            <pc:sldMk cId="652308430" sldId="288"/>
            <ac:spMk id="5" creationId="{1C9471BA-DBFC-4547-9463-F511E4B7694D}"/>
          </ac:spMkLst>
        </pc:spChg>
        <pc:spChg chg="del">
          <ac:chgData name="Malin Andersen" userId="67895919-1e14-47ad-aa24-7fe5f76b678e" providerId="ADAL" clId="{8A5AE5AB-D729-47A1-A75F-BB73D32E414B}" dt="2020-11-17T19:46:34.181" v="116" actId="931"/>
          <ac:spMkLst>
            <pc:docMk/>
            <pc:sldMk cId="652308430" sldId="288"/>
            <ac:spMk id="6" creationId="{84CE1EB6-AF7A-42DC-9900-9D0D201A3C6B}"/>
          </ac:spMkLst>
        </pc:spChg>
        <pc:spChg chg="del">
          <ac:chgData name="Malin Andersen" userId="67895919-1e14-47ad-aa24-7fe5f76b678e" providerId="ADAL" clId="{8A5AE5AB-D729-47A1-A75F-BB73D32E414B}" dt="2020-11-17T19:42:17.158" v="104" actId="931"/>
          <ac:spMkLst>
            <pc:docMk/>
            <pc:sldMk cId="652308430" sldId="288"/>
            <ac:spMk id="7" creationId="{B4A5AEF3-1367-424A-ACF2-E68797566A8D}"/>
          </ac:spMkLst>
        </pc:spChg>
        <pc:picChg chg="add mod">
          <ac:chgData name="Malin Andersen" userId="67895919-1e14-47ad-aa24-7fe5f76b678e" providerId="ADAL" clId="{8A5AE5AB-D729-47A1-A75F-BB73D32E414B}" dt="2020-11-17T19:42:17.158" v="104" actId="931"/>
          <ac:picMkLst>
            <pc:docMk/>
            <pc:sldMk cId="652308430" sldId="288"/>
            <ac:picMk id="3" creationId="{88873573-C0FE-4430-9B54-59E3F4C01597}"/>
          </ac:picMkLst>
        </pc:picChg>
        <pc:picChg chg="add mod">
          <ac:chgData name="Malin Andersen" userId="67895919-1e14-47ad-aa24-7fe5f76b678e" providerId="ADAL" clId="{8A5AE5AB-D729-47A1-A75F-BB73D32E414B}" dt="2020-11-17T19:46:57.919" v="118" actId="14100"/>
          <ac:picMkLst>
            <pc:docMk/>
            <pc:sldMk cId="652308430" sldId="288"/>
            <ac:picMk id="8" creationId="{4FEB6D64-A6C9-4AEA-8827-C717B28BAB96}"/>
          </ac:picMkLst>
        </pc:picChg>
      </pc:sldChg>
      <pc:sldChg chg="addSp delSp modSp add modNotesTx">
        <pc:chgData name="Malin Andersen" userId="67895919-1e14-47ad-aa24-7fe5f76b678e" providerId="ADAL" clId="{8A5AE5AB-D729-47A1-A75F-BB73D32E414B}" dt="2020-11-17T19:59:34.609" v="194" actId="113"/>
        <pc:sldMkLst>
          <pc:docMk/>
          <pc:sldMk cId="3852383013" sldId="289"/>
        </pc:sldMkLst>
        <pc:spChg chg="del">
          <ac:chgData name="Malin Andersen" userId="67895919-1e14-47ad-aa24-7fe5f76b678e" providerId="ADAL" clId="{8A5AE5AB-D729-47A1-A75F-BB73D32E414B}" dt="2020-11-17T19:49:25.368" v="126" actId="931"/>
          <ac:spMkLst>
            <pc:docMk/>
            <pc:sldMk cId="3852383013" sldId="289"/>
            <ac:spMk id="6" creationId="{84CE1EB6-AF7A-42DC-9900-9D0D201A3C6B}"/>
          </ac:spMkLst>
        </pc:spChg>
        <pc:spChg chg="del">
          <ac:chgData name="Malin Andersen" userId="67895919-1e14-47ad-aa24-7fe5f76b678e" providerId="ADAL" clId="{8A5AE5AB-D729-47A1-A75F-BB73D32E414B}" dt="2020-11-17T19:43:10.644" v="112" actId="931"/>
          <ac:spMkLst>
            <pc:docMk/>
            <pc:sldMk cId="3852383013" sldId="289"/>
            <ac:spMk id="7" creationId="{B4A5AEF3-1367-424A-ACF2-E68797566A8D}"/>
          </ac:spMkLst>
        </pc:spChg>
        <pc:picChg chg="add mod">
          <ac:chgData name="Malin Andersen" userId="67895919-1e14-47ad-aa24-7fe5f76b678e" providerId="ADAL" clId="{8A5AE5AB-D729-47A1-A75F-BB73D32E414B}" dt="2020-11-17T19:43:10.644" v="112" actId="931"/>
          <ac:picMkLst>
            <pc:docMk/>
            <pc:sldMk cId="3852383013" sldId="289"/>
            <ac:picMk id="3" creationId="{8AFAA3E0-8F08-41B3-970A-F7D568F06922}"/>
          </ac:picMkLst>
        </pc:picChg>
        <pc:picChg chg="add mod">
          <ac:chgData name="Malin Andersen" userId="67895919-1e14-47ad-aa24-7fe5f76b678e" providerId="ADAL" clId="{8A5AE5AB-D729-47A1-A75F-BB73D32E414B}" dt="2020-11-17T19:49:32.087" v="128" actId="962"/>
          <ac:picMkLst>
            <pc:docMk/>
            <pc:sldMk cId="3852383013" sldId="289"/>
            <ac:picMk id="8" creationId="{3D72160B-2209-443E-AB72-C91BCC156821}"/>
          </ac:picMkLst>
        </pc:picChg>
      </pc:sldChg>
      <pc:sldChg chg="addSp delSp modSp add modNotesTx">
        <pc:chgData name="Malin Andersen" userId="67895919-1e14-47ad-aa24-7fe5f76b678e" providerId="ADAL" clId="{8A5AE5AB-D729-47A1-A75F-BB73D32E414B}" dt="2020-11-17T19:59:06.114" v="189" actId="113"/>
        <pc:sldMkLst>
          <pc:docMk/>
          <pc:sldMk cId="1101962370" sldId="290"/>
        </pc:sldMkLst>
        <pc:spChg chg="mod">
          <ac:chgData name="Malin Andersen" userId="67895919-1e14-47ad-aa24-7fe5f76b678e" providerId="ADAL" clId="{8A5AE5AB-D729-47A1-A75F-BB73D32E414B}" dt="2020-11-17T19:54:18.676" v="155" actId="20577"/>
          <ac:spMkLst>
            <pc:docMk/>
            <pc:sldMk cId="1101962370" sldId="290"/>
            <ac:spMk id="5" creationId="{1C9471BA-DBFC-4547-9463-F511E4B7694D}"/>
          </ac:spMkLst>
        </pc:spChg>
        <pc:spChg chg="del">
          <ac:chgData name="Malin Andersen" userId="67895919-1e14-47ad-aa24-7fe5f76b678e" providerId="ADAL" clId="{8A5AE5AB-D729-47A1-A75F-BB73D32E414B}" dt="2020-11-17T19:48:34.002" v="124" actId="931"/>
          <ac:spMkLst>
            <pc:docMk/>
            <pc:sldMk cId="1101962370" sldId="290"/>
            <ac:spMk id="6" creationId="{84CE1EB6-AF7A-42DC-9900-9D0D201A3C6B}"/>
          </ac:spMkLst>
        </pc:spChg>
        <pc:spChg chg="del">
          <ac:chgData name="Malin Andersen" userId="67895919-1e14-47ad-aa24-7fe5f76b678e" providerId="ADAL" clId="{8A5AE5AB-D729-47A1-A75F-BB73D32E414B}" dt="2020-11-17T19:42:52.302" v="109" actId="931"/>
          <ac:spMkLst>
            <pc:docMk/>
            <pc:sldMk cId="1101962370" sldId="290"/>
            <ac:spMk id="7" creationId="{B4A5AEF3-1367-424A-ACF2-E68797566A8D}"/>
          </ac:spMkLst>
        </pc:spChg>
        <pc:picChg chg="add mod">
          <ac:chgData name="Malin Andersen" userId="67895919-1e14-47ad-aa24-7fe5f76b678e" providerId="ADAL" clId="{8A5AE5AB-D729-47A1-A75F-BB73D32E414B}" dt="2020-11-17T19:42:52.302" v="109" actId="931"/>
          <ac:picMkLst>
            <pc:docMk/>
            <pc:sldMk cId="1101962370" sldId="290"/>
            <ac:picMk id="3" creationId="{90587752-3044-4D3F-819B-8F7B01C2A4D1}"/>
          </ac:picMkLst>
        </pc:picChg>
        <pc:picChg chg="add mod">
          <ac:chgData name="Malin Andersen" userId="67895919-1e14-47ad-aa24-7fe5f76b678e" providerId="ADAL" clId="{8A5AE5AB-D729-47A1-A75F-BB73D32E414B}" dt="2020-11-17T19:48:40.787" v="125" actId="27614"/>
          <ac:picMkLst>
            <pc:docMk/>
            <pc:sldMk cId="1101962370" sldId="290"/>
            <ac:picMk id="8" creationId="{8406A825-C946-4A89-8767-A46B6C0DB0A7}"/>
          </ac:picMkLst>
        </pc:picChg>
      </pc:sldChg>
      <pc:sldChg chg="addSp delSp modSp add modNotes modNotesTx">
        <pc:chgData name="Malin Andersen" userId="67895919-1e14-47ad-aa24-7fe5f76b678e" providerId="ADAL" clId="{8A5AE5AB-D729-47A1-A75F-BB73D32E414B}" dt="2020-11-17T20:47:31.744" v="207" actId="20577"/>
        <pc:sldMkLst>
          <pc:docMk/>
          <pc:sldMk cId="2584413510" sldId="291"/>
        </pc:sldMkLst>
        <pc:spChg chg="mod">
          <ac:chgData name="Malin Andersen" userId="67895919-1e14-47ad-aa24-7fe5f76b678e" providerId="ADAL" clId="{8A5AE5AB-D729-47A1-A75F-BB73D32E414B}" dt="2020-11-17T19:54:28.152" v="161" actId="20577"/>
          <ac:spMkLst>
            <pc:docMk/>
            <pc:sldMk cId="2584413510" sldId="291"/>
            <ac:spMk id="5" creationId="{1C9471BA-DBFC-4547-9463-F511E4B7694D}"/>
          </ac:spMkLst>
        </pc:spChg>
        <pc:spChg chg="del">
          <ac:chgData name="Malin Andersen" userId="67895919-1e14-47ad-aa24-7fe5f76b678e" providerId="ADAL" clId="{8A5AE5AB-D729-47A1-A75F-BB73D32E414B}" dt="2020-11-17T19:54:47.732" v="162" actId="931"/>
          <ac:spMkLst>
            <pc:docMk/>
            <pc:sldMk cId="2584413510" sldId="291"/>
            <ac:spMk id="6" creationId="{84CE1EB6-AF7A-42DC-9900-9D0D201A3C6B}"/>
          </ac:spMkLst>
        </pc:spChg>
        <pc:spChg chg="del">
          <ac:chgData name="Malin Andersen" userId="67895919-1e14-47ad-aa24-7fe5f76b678e" providerId="ADAL" clId="{8A5AE5AB-D729-47A1-A75F-BB73D32E414B}" dt="2020-11-17T19:43:28.640" v="114" actId="931"/>
          <ac:spMkLst>
            <pc:docMk/>
            <pc:sldMk cId="2584413510" sldId="291"/>
            <ac:spMk id="7" creationId="{B4A5AEF3-1367-424A-ACF2-E68797566A8D}"/>
          </ac:spMkLst>
        </pc:spChg>
        <pc:picChg chg="add mod">
          <ac:chgData name="Malin Andersen" userId="67895919-1e14-47ad-aa24-7fe5f76b678e" providerId="ADAL" clId="{8A5AE5AB-D729-47A1-A75F-BB73D32E414B}" dt="2020-11-17T19:43:28.640" v="114" actId="931"/>
          <ac:picMkLst>
            <pc:docMk/>
            <pc:sldMk cId="2584413510" sldId="291"/>
            <ac:picMk id="3" creationId="{E8F50323-6D34-4535-9A55-CBEDB5F6FA63}"/>
          </ac:picMkLst>
        </pc:picChg>
        <pc:picChg chg="add mod">
          <ac:chgData name="Malin Andersen" userId="67895919-1e14-47ad-aa24-7fe5f76b678e" providerId="ADAL" clId="{8A5AE5AB-D729-47A1-A75F-BB73D32E414B}" dt="2020-11-17T19:54:47.732" v="162" actId="931"/>
          <ac:picMkLst>
            <pc:docMk/>
            <pc:sldMk cId="2584413510" sldId="291"/>
            <ac:picMk id="8" creationId="{E6BE47EE-28FF-4354-B33B-4D59B73A630D}"/>
          </ac:picMkLst>
        </pc:picChg>
      </pc:sldChg>
      <pc:sldChg chg="addSp delSp modSp add modNotesTx">
        <pc:chgData name="Malin Andersen" userId="67895919-1e14-47ad-aa24-7fe5f76b678e" providerId="ADAL" clId="{8A5AE5AB-D729-47A1-A75F-BB73D32E414B}" dt="2020-11-17T20:46:53.572" v="196" actId="113"/>
        <pc:sldMkLst>
          <pc:docMk/>
          <pc:sldMk cId="2787381860" sldId="292"/>
        </pc:sldMkLst>
        <pc:spChg chg="mod">
          <ac:chgData name="Malin Andersen" userId="67895919-1e14-47ad-aa24-7fe5f76b678e" providerId="ADAL" clId="{8A5AE5AB-D729-47A1-A75F-BB73D32E414B}" dt="2020-11-17T19:54:23.022" v="158" actId="20577"/>
          <ac:spMkLst>
            <pc:docMk/>
            <pc:sldMk cId="2787381860" sldId="292"/>
            <ac:spMk id="5" creationId="{1C9471BA-DBFC-4547-9463-F511E4B7694D}"/>
          </ac:spMkLst>
        </pc:spChg>
        <pc:spChg chg="del">
          <ac:chgData name="Malin Andersen" userId="67895919-1e14-47ad-aa24-7fe5f76b678e" providerId="ADAL" clId="{8A5AE5AB-D729-47A1-A75F-BB73D32E414B}" dt="2020-11-17T19:50:03.927" v="129" actId="931"/>
          <ac:spMkLst>
            <pc:docMk/>
            <pc:sldMk cId="2787381860" sldId="292"/>
            <ac:spMk id="6" creationId="{84CE1EB6-AF7A-42DC-9900-9D0D201A3C6B}"/>
          </ac:spMkLst>
        </pc:spChg>
        <pc:spChg chg="del">
          <ac:chgData name="Malin Andersen" userId="67895919-1e14-47ad-aa24-7fe5f76b678e" providerId="ADAL" clId="{8A5AE5AB-D729-47A1-A75F-BB73D32E414B}" dt="2020-11-17T19:43:19.204" v="113" actId="931"/>
          <ac:spMkLst>
            <pc:docMk/>
            <pc:sldMk cId="2787381860" sldId="292"/>
            <ac:spMk id="7" creationId="{B4A5AEF3-1367-424A-ACF2-E68797566A8D}"/>
          </ac:spMkLst>
        </pc:spChg>
        <pc:picChg chg="add mod">
          <ac:chgData name="Malin Andersen" userId="67895919-1e14-47ad-aa24-7fe5f76b678e" providerId="ADAL" clId="{8A5AE5AB-D729-47A1-A75F-BB73D32E414B}" dt="2020-11-17T19:43:19.204" v="113" actId="931"/>
          <ac:picMkLst>
            <pc:docMk/>
            <pc:sldMk cId="2787381860" sldId="292"/>
            <ac:picMk id="3" creationId="{E456D92E-E799-4170-804F-0264028AE8E7}"/>
          </ac:picMkLst>
        </pc:picChg>
        <pc:picChg chg="add mod">
          <ac:chgData name="Malin Andersen" userId="67895919-1e14-47ad-aa24-7fe5f76b678e" providerId="ADAL" clId="{8A5AE5AB-D729-47A1-A75F-BB73D32E414B}" dt="2020-11-17T19:50:10.313" v="131" actId="962"/>
          <ac:picMkLst>
            <pc:docMk/>
            <pc:sldMk cId="2787381860" sldId="292"/>
            <ac:picMk id="8" creationId="{03B553DC-F4B6-491E-8916-E5A512B1741F}"/>
          </ac:picMkLst>
        </pc:picChg>
      </pc:sldChg>
      <pc:sldChg chg="add">
        <pc:chgData name="Malin Andersen" userId="67895919-1e14-47ad-aa24-7fe5f76b678e" providerId="ADAL" clId="{8A5AE5AB-D729-47A1-A75F-BB73D32E414B}" dt="2020-11-17T19:54:56.043" v="163"/>
        <pc:sldMkLst>
          <pc:docMk/>
          <pc:sldMk cId="48104253" sldId="293"/>
        </pc:sldMkLst>
      </pc:sldChg>
    </pc:docChg>
  </pc:docChgLst>
  <pc:docChgLst>
    <pc:chgData name="Malin Andersen" userId="67895919-1e14-47ad-aa24-7fe5f76b678e" providerId="ADAL" clId="{5DCD4660-5E0B-4218-8F86-E95870D147F1}"/>
    <pc:docChg chg="undo custSel addSld delSld modSld sldOrd modMainMaster">
      <pc:chgData name="Malin Andersen" userId="67895919-1e14-47ad-aa24-7fe5f76b678e" providerId="ADAL" clId="{5DCD4660-5E0B-4218-8F86-E95870D147F1}" dt="2021-01-17T16:15:43.291" v="5724" actId="207"/>
      <pc:docMkLst>
        <pc:docMk/>
      </pc:docMkLst>
      <pc:sldChg chg="addSp delSp modSp del">
        <pc:chgData name="Malin Andersen" userId="67895919-1e14-47ad-aa24-7fe5f76b678e" providerId="ADAL" clId="{5DCD4660-5E0B-4218-8F86-E95870D147F1}" dt="2020-12-22T17:28:46.079" v="5708" actId="2696"/>
        <pc:sldMkLst>
          <pc:docMk/>
          <pc:sldMk cId="3819505342" sldId="269"/>
        </pc:sldMkLst>
        <pc:spChg chg="add del mod">
          <ac:chgData name="Malin Andersen" userId="67895919-1e14-47ad-aa24-7fe5f76b678e" providerId="ADAL" clId="{5DCD4660-5E0B-4218-8F86-E95870D147F1}" dt="2020-12-22T16:28:04.626" v="5682" actId="478"/>
          <ac:spMkLst>
            <pc:docMk/>
            <pc:sldMk cId="3819505342" sldId="269"/>
            <ac:spMk id="3" creationId="{75FE5C14-9D55-4854-AC03-D509ED963986}"/>
          </ac:spMkLst>
        </pc:spChg>
        <pc:spChg chg="del mod">
          <ac:chgData name="Malin Andersen" userId="67895919-1e14-47ad-aa24-7fe5f76b678e" providerId="ADAL" clId="{5DCD4660-5E0B-4218-8F86-E95870D147F1}" dt="2020-12-22T16:24:28.860" v="5665" actId="478"/>
          <ac:spMkLst>
            <pc:docMk/>
            <pc:sldMk cId="3819505342" sldId="269"/>
            <ac:spMk id="4" creationId="{00000000-0000-0000-0000-000000000000}"/>
          </ac:spMkLst>
        </pc:spChg>
      </pc:sldChg>
      <pc:sldChg chg="modSp modNotesTx">
        <pc:chgData name="Malin Andersen" userId="67895919-1e14-47ad-aa24-7fe5f76b678e" providerId="ADAL" clId="{5DCD4660-5E0B-4218-8F86-E95870D147F1}" dt="2020-12-15T21:31:40.891" v="5208" actId="962"/>
        <pc:sldMkLst>
          <pc:docMk/>
          <pc:sldMk cId="4192402841" sldId="275"/>
        </pc:sldMkLst>
        <pc:picChg chg="mod">
          <ac:chgData name="Malin Andersen" userId="67895919-1e14-47ad-aa24-7fe5f76b678e" providerId="ADAL" clId="{5DCD4660-5E0B-4218-8F86-E95870D147F1}" dt="2020-12-15T21:31:40.891" v="5208" actId="962"/>
          <ac:picMkLst>
            <pc:docMk/>
            <pc:sldMk cId="4192402841" sldId="275"/>
            <ac:picMk id="17" creationId="{6FF53B3C-8E30-4A4C-87F2-CBB6247275EA}"/>
          </ac:picMkLst>
        </pc:picChg>
      </pc:sldChg>
      <pc:sldChg chg="modSp">
        <pc:chgData name="Malin Andersen" userId="67895919-1e14-47ad-aa24-7fe5f76b678e" providerId="ADAL" clId="{5DCD4660-5E0B-4218-8F86-E95870D147F1}" dt="2020-12-15T21:31:27.719" v="5154" actId="962"/>
        <pc:sldMkLst>
          <pc:docMk/>
          <pc:sldMk cId="2927447702" sldId="276"/>
        </pc:sldMkLst>
        <pc:picChg chg="mod">
          <ac:chgData name="Malin Andersen" userId="67895919-1e14-47ad-aa24-7fe5f76b678e" providerId="ADAL" clId="{5DCD4660-5E0B-4218-8F86-E95870D147F1}" dt="2020-12-15T21:31:27.719" v="5154" actId="962"/>
          <ac:picMkLst>
            <pc:docMk/>
            <pc:sldMk cId="2927447702" sldId="276"/>
            <ac:picMk id="7" creationId="{FADDF899-25C3-4FB2-847E-77B340596A1C}"/>
          </ac:picMkLst>
        </pc:picChg>
      </pc:sldChg>
      <pc:sldChg chg="modSp modNotesTx">
        <pc:chgData name="Malin Andersen" userId="67895919-1e14-47ad-aa24-7fe5f76b678e" providerId="ADAL" clId="{5DCD4660-5E0B-4218-8F86-E95870D147F1}" dt="2020-12-22T16:25:57.438" v="5677" actId="20577"/>
        <pc:sldMkLst>
          <pc:docMk/>
          <pc:sldMk cId="3063063376" sldId="277"/>
        </pc:sldMkLst>
        <pc:spChg chg="mod">
          <ac:chgData name="Malin Andersen" userId="67895919-1e14-47ad-aa24-7fe5f76b678e" providerId="ADAL" clId="{5DCD4660-5E0B-4218-8F86-E95870D147F1}" dt="2020-12-22T16:25:57.438" v="5677" actId="20577"/>
          <ac:spMkLst>
            <pc:docMk/>
            <pc:sldMk cId="3063063376" sldId="277"/>
            <ac:spMk id="4" creationId="{0D3559B1-8DB4-43DC-96C9-985BA44BB9AA}"/>
          </ac:spMkLst>
        </pc:spChg>
        <pc:spChg chg="mod">
          <ac:chgData name="Malin Andersen" userId="67895919-1e14-47ad-aa24-7fe5f76b678e" providerId="ADAL" clId="{5DCD4660-5E0B-4218-8F86-E95870D147F1}" dt="2020-12-22T16:25:40.929" v="5676" actId="962"/>
          <ac:spMkLst>
            <pc:docMk/>
            <pc:sldMk cId="3063063376" sldId="277"/>
            <ac:spMk id="5" creationId="{47C08D98-2D58-4ADF-8696-2A4BC58C3E59}"/>
          </ac:spMkLst>
        </pc:spChg>
        <pc:picChg chg="mod">
          <ac:chgData name="Malin Andersen" userId="67895919-1e14-47ad-aa24-7fe5f76b678e" providerId="ADAL" clId="{5DCD4660-5E0B-4218-8F86-E95870D147F1}" dt="2020-12-22T16:25:04.813" v="5669" actId="1076"/>
          <ac:picMkLst>
            <pc:docMk/>
            <pc:sldMk cId="3063063376" sldId="277"/>
            <ac:picMk id="6" creationId="{2ABB1FCD-3330-46B3-83F5-CF04E84B95AD}"/>
          </ac:picMkLst>
        </pc:picChg>
      </pc:sldChg>
      <pc:sldChg chg="addSp delSp modSp modNotesTx">
        <pc:chgData name="Malin Andersen" userId="67895919-1e14-47ad-aa24-7fe5f76b678e" providerId="ADAL" clId="{5DCD4660-5E0B-4218-8F86-E95870D147F1}" dt="2021-01-07T18:28:09.946" v="5720" actId="14100"/>
        <pc:sldMkLst>
          <pc:docMk/>
          <pc:sldMk cId="3251362992" sldId="278"/>
        </pc:sldMkLst>
        <pc:spChg chg="add del mod">
          <ac:chgData name="Malin Andersen" userId="67895919-1e14-47ad-aa24-7fe5f76b678e" providerId="ADAL" clId="{5DCD4660-5E0B-4218-8F86-E95870D147F1}" dt="2021-01-07T17:16:07.396" v="5717" actId="931"/>
          <ac:spMkLst>
            <pc:docMk/>
            <pc:sldMk cId="3251362992" sldId="278"/>
            <ac:spMk id="3" creationId="{5381BE30-C622-4DDC-80A1-7B5D62CCB7FD}"/>
          </ac:spMkLst>
        </pc:spChg>
        <pc:picChg chg="add mod">
          <ac:chgData name="Malin Andersen" userId="67895919-1e14-47ad-aa24-7fe5f76b678e" providerId="ADAL" clId="{5DCD4660-5E0B-4218-8F86-E95870D147F1}" dt="2021-01-07T18:28:09.946" v="5720" actId="14100"/>
          <ac:picMkLst>
            <pc:docMk/>
            <pc:sldMk cId="3251362992" sldId="278"/>
            <ac:picMk id="6" creationId="{673243DD-9EDD-4A9F-B84E-475D239B3F72}"/>
          </ac:picMkLst>
        </pc:picChg>
        <pc:picChg chg="mod">
          <ac:chgData name="Malin Andersen" userId="67895919-1e14-47ad-aa24-7fe5f76b678e" providerId="ADAL" clId="{5DCD4660-5E0B-4218-8F86-E95870D147F1}" dt="2020-12-15T21:30:59.827" v="5027" actId="962"/>
          <ac:picMkLst>
            <pc:docMk/>
            <pc:sldMk cId="3251362992" sldId="278"/>
            <ac:picMk id="7" creationId="{23B70171-D2AE-4419-A2B9-699E44DEFEDF}"/>
          </ac:picMkLst>
        </pc:picChg>
        <pc:picChg chg="del mod">
          <ac:chgData name="Malin Andersen" userId="67895919-1e14-47ad-aa24-7fe5f76b678e" providerId="ADAL" clId="{5DCD4660-5E0B-4218-8F86-E95870D147F1}" dt="2021-01-07T17:15:52.326" v="5716" actId="478"/>
          <ac:picMkLst>
            <pc:docMk/>
            <pc:sldMk cId="3251362992" sldId="278"/>
            <ac:picMk id="8" creationId="{B528D4EA-EFFC-400D-8623-7CF45AE0FD5F}"/>
          </ac:picMkLst>
        </pc:picChg>
      </pc:sldChg>
      <pc:sldChg chg="modSp modNotesTx">
        <pc:chgData name="Malin Andersen" userId="67895919-1e14-47ad-aa24-7fe5f76b678e" providerId="ADAL" clId="{5DCD4660-5E0B-4218-8F86-E95870D147F1}" dt="2020-12-15T21:30:41.353" v="4959" actId="962"/>
        <pc:sldMkLst>
          <pc:docMk/>
          <pc:sldMk cId="2247752183" sldId="279"/>
        </pc:sldMkLst>
        <pc:picChg chg="mod">
          <ac:chgData name="Malin Andersen" userId="67895919-1e14-47ad-aa24-7fe5f76b678e" providerId="ADAL" clId="{5DCD4660-5E0B-4218-8F86-E95870D147F1}" dt="2020-12-15T21:30:41.353" v="4959" actId="962"/>
          <ac:picMkLst>
            <pc:docMk/>
            <pc:sldMk cId="2247752183" sldId="279"/>
            <ac:picMk id="6" creationId="{71CF9A33-7718-4AE6-8819-544C5715B3F0}"/>
          </ac:picMkLst>
        </pc:picChg>
      </pc:sldChg>
      <pc:sldChg chg="modSp modNotesTx">
        <pc:chgData name="Malin Andersen" userId="67895919-1e14-47ad-aa24-7fe5f76b678e" providerId="ADAL" clId="{5DCD4660-5E0B-4218-8F86-E95870D147F1}" dt="2020-12-15T21:30:24.704" v="4909" actId="962"/>
        <pc:sldMkLst>
          <pc:docMk/>
          <pc:sldMk cId="2743620936" sldId="280"/>
        </pc:sldMkLst>
        <pc:picChg chg="mod">
          <ac:chgData name="Malin Andersen" userId="67895919-1e14-47ad-aa24-7fe5f76b678e" providerId="ADAL" clId="{5DCD4660-5E0B-4218-8F86-E95870D147F1}" dt="2020-12-15T21:30:24.704" v="4909" actId="962"/>
          <ac:picMkLst>
            <pc:docMk/>
            <pc:sldMk cId="2743620936" sldId="280"/>
            <ac:picMk id="7" creationId="{B6AB0D83-7045-4965-AA91-A572837B1C06}"/>
          </ac:picMkLst>
        </pc:picChg>
      </pc:sldChg>
      <pc:sldChg chg="modSp modNotesTx">
        <pc:chgData name="Malin Andersen" userId="67895919-1e14-47ad-aa24-7fe5f76b678e" providerId="ADAL" clId="{5DCD4660-5E0B-4218-8F86-E95870D147F1}" dt="2021-01-08T22:35:02.503" v="5721" actId="20577"/>
        <pc:sldMkLst>
          <pc:docMk/>
          <pc:sldMk cId="628652379" sldId="281"/>
        </pc:sldMkLst>
        <pc:spChg chg="mod">
          <ac:chgData name="Malin Andersen" userId="67895919-1e14-47ad-aa24-7fe5f76b678e" providerId="ADAL" clId="{5DCD4660-5E0B-4218-8F86-E95870D147F1}" dt="2020-12-22T16:18:32.417" v="5541"/>
          <ac:spMkLst>
            <pc:docMk/>
            <pc:sldMk cId="628652379" sldId="281"/>
            <ac:spMk id="3" creationId="{C68CA945-487B-4A03-832E-10C0A483CBDE}"/>
          </ac:spMkLst>
        </pc:spChg>
        <pc:picChg chg="mod">
          <ac:chgData name="Malin Andersen" userId="67895919-1e14-47ad-aa24-7fe5f76b678e" providerId="ADAL" clId="{5DCD4660-5E0B-4218-8F86-E95870D147F1}" dt="2020-12-15T21:30:15.235" v="4873" actId="962"/>
          <ac:picMkLst>
            <pc:docMk/>
            <pc:sldMk cId="628652379" sldId="281"/>
            <ac:picMk id="5" creationId="{367AD4B9-9C10-4DEA-83DA-D396653CBCBA}"/>
          </ac:picMkLst>
        </pc:picChg>
      </pc:sldChg>
      <pc:sldChg chg="modSp">
        <pc:chgData name="Malin Andersen" userId="67895919-1e14-47ad-aa24-7fe5f76b678e" providerId="ADAL" clId="{5DCD4660-5E0B-4218-8F86-E95870D147F1}" dt="2020-12-15T21:29:52.172" v="4743" actId="962"/>
        <pc:sldMkLst>
          <pc:docMk/>
          <pc:sldMk cId="1921485719" sldId="282"/>
        </pc:sldMkLst>
        <pc:picChg chg="mod">
          <ac:chgData name="Malin Andersen" userId="67895919-1e14-47ad-aa24-7fe5f76b678e" providerId="ADAL" clId="{5DCD4660-5E0B-4218-8F86-E95870D147F1}" dt="2020-12-15T21:29:52.172" v="4743" actId="962"/>
          <ac:picMkLst>
            <pc:docMk/>
            <pc:sldMk cId="1921485719" sldId="282"/>
            <ac:picMk id="7" creationId="{E173B840-984B-4A09-AF61-EDDF62CACCA8}"/>
          </ac:picMkLst>
        </pc:picChg>
      </pc:sldChg>
      <pc:sldChg chg="modSp">
        <pc:chgData name="Malin Andersen" userId="67895919-1e14-47ad-aa24-7fe5f76b678e" providerId="ADAL" clId="{5DCD4660-5E0B-4218-8F86-E95870D147F1}" dt="2020-12-22T16:23:41.967" v="5663" actId="962"/>
        <pc:sldMkLst>
          <pc:docMk/>
          <pc:sldMk cId="1523350470" sldId="283"/>
        </pc:sldMkLst>
        <pc:spChg chg="mod">
          <ac:chgData name="Malin Andersen" userId="67895919-1e14-47ad-aa24-7fe5f76b678e" providerId="ADAL" clId="{5DCD4660-5E0B-4218-8F86-E95870D147F1}" dt="2020-12-22T16:21:28.706" v="5573" actId="20577"/>
          <ac:spMkLst>
            <pc:docMk/>
            <pc:sldMk cId="1523350470" sldId="283"/>
            <ac:spMk id="4" creationId="{0D3559B1-8DB4-43DC-96C9-985BA44BB9AA}"/>
          </ac:spMkLst>
        </pc:spChg>
        <pc:spChg chg="mod">
          <ac:chgData name="Malin Andersen" userId="67895919-1e14-47ad-aa24-7fe5f76b678e" providerId="ADAL" clId="{5DCD4660-5E0B-4218-8F86-E95870D147F1}" dt="2020-12-22T16:23:41.967" v="5663" actId="962"/>
          <ac:spMkLst>
            <pc:docMk/>
            <pc:sldMk cId="1523350470" sldId="283"/>
            <ac:spMk id="5" creationId="{47C08D98-2D58-4ADF-8696-2A4BC58C3E59}"/>
          </ac:spMkLst>
        </pc:spChg>
        <pc:picChg chg="mod">
          <ac:chgData name="Malin Andersen" userId="67895919-1e14-47ad-aa24-7fe5f76b678e" providerId="ADAL" clId="{5DCD4660-5E0B-4218-8F86-E95870D147F1}" dt="2020-12-22T16:23:30.493" v="5621" actId="1076"/>
          <ac:picMkLst>
            <pc:docMk/>
            <pc:sldMk cId="1523350470" sldId="283"/>
            <ac:picMk id="6" creationId="{2ABB1FCD-3330-46B3-83F5-CF04E84B95AD}"/>
          </ac:picMkLst>
        </pc:picChg>
      </pc:sldChg>
      <pc:sldChg chg="modSp modNotesTx">
        <pc:chgData name="Malin Andersen" userId="67895919-1e14-47ad-aa24-7fe5f76b678e" providerId="ADAL" clId="{5DCD4660-5E0B-4218-8F86-E95870D147F1}" dt="2020-12-15T21:29:47.630" v="4742" actId="962"/>
        <pc:sldMkLst>
          <pc:docMk/>
          <pc:sldMk cId="3462993812" sldId="284"/>
        </pc:sldMkLst>
        <pc:picChg chg="mod">
          <ac:chgData name="Malin Andersen" userId="67895919-1e14-47ad-aa24-7fe5f76b678e" providerId="ADAL" clId="{5DCD4660-5E0B-4218-8F86-E95870D147F1}" dt="2020-12-15T21:29:44.548" v="4741" actId="962"/>
          <ac:picMkLst>
            <pc:docMk/>
            <pc:sldMk cId="3462993812" sldId="284"/>
            <ac:picMk id="8" creationId="{778C3AE4-0C1B-4A41-94DC-185A81D6A117}"/>
          </ac:picMkLst>
        </pc:picChg>
        <pc:picChg chg="mod">
          <ac:chgData name="Malin Andersen" userId="67895919-1e14-47ad-aa24-7fe5f76b678e" providerId="ADAL" clId="{5DCD4660-5E0B-4218-8F86-E95870D147F1}" dt="2020-12-15T21:29:47.630" v="4742" actId="962"/>
          <ac:picMkLst>
            <pc:docMk/>
            <pc:sldMk cId="3462993812" sldId="284"/>
            <ac:picMk id="10" creationId="{8FA9ACAA-FE63-4D27-BF47-0BCE1267B08A}"/>
          </ac:picMkLst>
        </pc:picChg>
      </pc:sldChg>
      <pc:sldChg chg="modSp modNotesTx">
        <pc:chgData name="Malin Andersen" userId="67895919-1e14-47ad-aa24-7fe5f76b678e" providerId="ADAL" clId="{5DCD4660-5E0B-4218-8F86-E95870D147F1}" dt="2020-12-15T21:29:36.257" v="4697" actId="962"/>
        <pc:sldMkLst>
          <pc:docMk/>
          <pc:sldMk cId="2994811991" sldId="285"/>
        </pc:sldMkLst>
        <pc:picChg chg="mod">
          <ac:chgData name="Malin Andersen" userId="67895919-1e14-47ad-aa24-7fe5f76b678e" providerId="ADAL" clId="{5DCD4660-5E0B-4218-8F86-E95870D147F1}" dt="2020-12-15T21:29:31.832" v="4665" actId="962"/>
          <ac:picMkLst>
            <pc:docMk/>
            <pc:sldMk cId="2994811991" sldId="285"/>
            <ac:picMk id="9" creationId="{DB2A4937-D7A0-4F51-A57D-795CA1DF18FD}"/>
          </ac:picMkLst>
        </pc:picChg>
        <pc:picChg chg="mod">
          <ac:chgData name="Malin Andersen" userId="67895919-1e14-47ad-aa24-7fe5f76b678e" providerId="ADAL" clId="{5DCD4660-5E0B-4218-8F86-E95870D147F1}" dt="2020-12-15T21:29:36.257" v="4697" actId="962"/>
          <ac:picMkLst>
            <pc:docMk/>
            <pc:sldMk cId="2994811991" sldId="285"/>
            <ac:picMk id="11" creationId="{E562F9BD-178D-4E33-98AA-CF79B2EF360C}"/>
          </ac:picMkLst>
        </pc:picChg>
      </pc:sldChg>
      <pc:sldChg chg="modSp modNotesTx">
        <pc:chgData name="Malin Andersen" userId="67895919-1e14-47ad-aa24-7fe5f76b678e" providerId="ADAL" clId="{5DCD4660-5E0B-4218-8F86-E95870D147F1}" dt="2020-12-15T21:28:59.104" v="4568" actId="962"/>
        <pc:sldMkLst>
          <pc:docMk/>
          <pc:sldMk cId="638997338" sldId="286"/>
        </pc:sldMkLst>
        <pc:picChg chg="mod">
          <ac:chgData name="Malin Andersen" userId="67895919-1e14-47ad-aa24-7fe5f76b678e" providerId="ADAL" clId="{5DCD4660-5E0B-4218-8F86-E95870D147F1}" dt="2020-12-15T21:28:44.964" v="4494" actId="962"/>
          <ac:picMkLst>
            <pc:docMk/>
            <pc:sldMk cId="638997338" sldId="286"/>
            <ac:picMk id="3" creationId="{E36A2DDC-8168-4D3B-B847-4634566F9BF2}"/>
          </ac:picMkLst>
        </pc:picChg>
        <pc:picChg chg="mod">
          <ac:chgData name="Malin Andersen" userId="67895919-1e14-47ad-aa24-7fe5f76b678e" providerId="ADAL" clId="{5DCD4660-5E0B-4218-8F86-E95870D147F1}" dt="2020-12-15T21:28:59.104" v="4568" actId="962"/>
          <ac:picMkLst>
            <pc:docMk/>
            <pc:sldMk cId="638997338" sldId="286"/>
            <ac:picMk id="8" creationId="{FA5ED9B8-0C67-4184-8EA1-FDB167E9F1A7}"/>
          </ac:picMkLst>
        </pc:picChg>
      </pc:sldChg>
      <pc:sldChg chg="modSp modNotesTx">
        <pc:chgData name="Malin Andersen" userId="67895919-1e14-47ad-aa24-7fe5f76b678e" providerId="ADAL" clId="{5DCD4660-5E0B-4218-8F86-E95870D147F1}" dt="2020-12-15T21:29:14.041" v="4619" actId="962"/>
        <pc:sldMkLst>
          <pc:docMk/>
          <pc:sldMk cId="3451188360" sldId="287"/>
        </pc:sldMkLst>
        <pc:picChg chg="mod">
          <ac:chgData name="Malin Andersen" userId="67895919-1e14-47ad-aa24-7fe5f76b678e" providerId="ADAL" clId="{5DCD4660-5E0B-4218-8F86-E95870D147F1}" dt="2020-12-15T21:29:04.519" v="4569" actId="962"/>
          <ac:picMkLst>
            <pc:docMk/>
            <pc:sldMk cId="3451188360" sldId="287"/>
            <ac:picMk id="3" creationId="{9D4BF5FF-B302-4E4A-B3E5-C10D617DCCED}"/>
          </ac:picMkLst>
        </pc:picChg>
        <pc:picChg chg="mod">
          <ac:chgData name="Malin Andersen" userId="67895919-1e14-47ad-aa24-7fe5f76b678e" providerId="ADAL" clId="{5DCD4660-5E0B-4218-8F86-E95870D147F1}" dt="2020-12-15T21:29:14.041" v="4619" actId="962"/>
          <ac:picMkLst>
            <pc:docMk/>
            <pc:sldMk cId="3451188360" sldId="287"/>
            <ac:picMk id="8" creationId="{2ED30614-6148-42CD-9E71-EB7CAB683CDF}"/>
          </ac:picMkLst>
        </pc:picChg>
      </pc:sldChg>
      <pc:sldChg chg="modSp modNotesTx">
        <pc:chgData name="Malin Andersen" userId="67895919-1e14-47ad-aa24-7fe5f76b678e" providerId="ADAL" clId="{5DCD4660-5E0B-4218-8F86-E95870D147F1}" dt="2020-12-15T21:29:25.441" v="4664" actId="962"/>
        <pc:sldMkLst>
          <pc:docMk/>
          <pc:sldMk cId="652308430" sldId="288"/>
        </pc:sldMkLst>
        <pc:picChg chg="mod">
          <ac:chgData name="Malin Andersen" userId="67895919-1e14-47ad-aa24-7fe5f76b678e" providerId="ADAL" clId="{5DCD4660-5E0B-4218-8F86-E95870D147F1}" dt="2020-12-15T21:29:19.221" v="4620" actId="962"/>
          <ac:picMkLst>
            <pc:docMk/>
            <pc:sldMk cId="652308430" sldId="288"/>
            <ac:picMk id="3" creationId="{88873573-C0FE-4430-9B54-59E3F4C01597}"/>
          </ac:picMkLst>
        </pc:picChg>
        <pc:picChg chg="mod">
          <ac:chgData name="Malin Andersen" userId="67895919-1e14-47ad-aa24-7fe5f76b678e" providerId="ADAL" clId="{5DCD4660-5E0B-4218-8F86-E95870D147F1}" dt="2020-12-15T21:29:25.441" v="4664" actId="962"/>
          <ac:picMkLst>
            <pc:docMk/>
            <pc:sldMk cId="652308430" sldId="288"/>
            <ac:picMk id="8" creationId="{4FEB6D64-A6C9-4AEA-8827-C717B28BAB96}"/>
          </ac:picMkLst>
        </pc:picChg>
      </pc:sldChg>
      <pc:sldChg chg="modSp modNotesTx">
        <pc:chgData name="Malin Andersen" userId="67895919-1e14-47ad-aa24-7fe5f76b678e" providerId="ADAL" clId="{5DCD4660-5E0B-4218-8F86-E95870D147F1}" dt="2020-12-22T16:17:09.108" v="5540" actId="20577"/>
        <pc:sldMkLst>
          <pc:docMk/>
          <pc:sldMk cId="3852383013" sldId="289"/>
        </pc:sldMkLst>
        <pc:spChg chg="mod">
          <ac:chgData name="Malin Andersen" userId="67895919-1e14-47ad-aa24-7fe5f76b678e" providerId="ADAL" clId="{5DCD4660-5E0B-4218-8F86-E95870D147F1}" dt="2020-12-22T16:17:09.108" v="5540" actId="20577"/>
          <ac:spMkLst>
            <pc:docMk/>
            <pc:sldMk cId="3852383013" sldId="289"/>
            <ac:spMk id="5" creationId="{1C9471BA-DBFC-4547-9463-F511E4B7694D}"/>
          </ac:spMkLst>
        </pc:spChg>
        <pc:picChg chg="mod">
          <ac:chgData name="Malin Andersen" userId="67895919-1e14-47ad-aa24-7fe5f76b678e" providerId="ADAL" clId="{5DCD4660-5E0B-4218-8F86-E95870D147F1}" dt="2020-12-15T21:28:16.681" v="4402" actId="962"/>
          <ac:picMkLst>
            <pc:docMk/>
            <pc:sldMk cId="3852383013" sldId="289"/>
            <ac:picMk id="3" creationId="{8AFAA3E0-8F08-41B3-970A-F7D568F06922}"/>
          </ac:picMkLst>
        </pc:picChg>
        <pc:picChg chg="mod">
          <ac:chgData name="Malin Andersen" userId="67895919-1e14-47ad-aa24-7fe5f76b678e" providerId="ADAL" clId="{5DCD4660-5E0B-4218-8F86-E95870D147F1}" dt="2020-12-15T21:28:25.129" v="4438" actId="962"/>
          <ac:picMkLst>
            <pc:docMk/>
            <pc:sldMk cId="3852383013" sldId="289"/>
            <ac:picMk id="8" creationId="{3D72160B-2209-443E-AB72-C91BCC156821}"/>
          </ac:picMkLst>
        </pc:picChg>
      </pc:sldChg>
      <pc:sldChg chg="modSp modNotesTx">
        <pc:chgData name="Malin Andersen" userId="67895919-1e14-47ad-aa24-7fe5f76b678e" providerId="ADAL" clId="{5DCD4660-5E0B-4218-8F86-E95870D147F1}" dt="2020-12-15T21:28:40.350" v="4493" actId="962"/>
        <pc:sldMkLst>
          <pc:docMk/>
          <pc:sldMk cId="1101962370" sldId="290"/>
        </pc:sldMkLst>
        <pc:picChg chg="mod">
          <ac:chgData name="Malin Andersen" userId="67895919-1e14-47ad-aa24-7fe5f76b678e" providerId="ADAL" clId="{5DCD4660-5E0B-4218-8F86-E95870D147F1}" dt="2020-12-15T21:28:30.397" v="4439" actId="962"/>
          <ac:picMkLst>
            <pc:docMk/>
            <pc:sldMk cId="1101962370" sldId="290"/>
            <ac:picMk id="3" creationId="{90587752-3044-4D3F-819B-8F7B01C2A4D1}"/>
          </ac:picMkLst>
        </pc:picChg>
        <pc:picChg chg="mod">
          <ac:chgData name="Malin Andersen" userId="67895919-1e14-47ad-aa24-7fe5f76b678e" providerId="ADAL" clId="{5DCD4660-5E0B-4218-8F86-E95870D147F1}" dt="2020-12-15T21:28:40.350" v="4493" actId="962"/>
          <ac:picMkLst>
            <pc:docMk/>
            <pc:sldMk cId="1101962370" sldId="290"/>
            <ac:picMk id="8" creationId="{8406A825-C946-4A89-8767-A46B6C0DB0A7}"/>
          </ac:picMkLst>
        </pc:picChg>
      </pc:sldChg>
      <pc:sldChg chg="modSp modNotesTx">
        <pc:chgData name="Malin Andersen" userId="67895919-1e14-47ad-aa24-7fe5f76b678e" providerId="ADAL" clId="{5DCD4660-5E0B-4218-8F86-E95870D147F1}" dt="2020-12-15T21:27:52.537" v="4332" actId="962"/>
        <pc:sldMkLst>
          <pc:docMk/>
          <pc:sldMk cId="2584413510" sldId="291"/>
        </pc:sldMkLst>
        <pc:picChg chg="mod">
          <ac:chgData name="Malin Andersen" userId="67895919-1e14-47ad-aa24-7fe5f76b678e" providerId="ADAL" clId="{5DCD4660-5E0B-4218-8F86-E95870D147F1}" dt="2020-12-15T21:27:52.537" v="4332" actId="962"/>
          <ac:picMkLst>
            <pc:docMk/>
            <pc:sldMk cId="2584413510" sldId="291"/>
            <ac:picMk id="3" creationId="{E8F50323-6D34-4535-9A55-CBEDB5F6FA63}"/>
          </ac:picMkLst>
        </pc:picChg>
        <pc:picChg chg="mod">
          <ac:chgData name="Malin Andersen" userId="67895919-1e14-47ad-aa24-7fe5f76b678e" providerId="ADAL" clId="{5DCD4660-5E0B-4218-8F86-E95870D147F1}" dt="2020-12-15T21:27:48.324" v="4331" actId="962"/>
          <ac:picMkLst>
            <pc:docMk/>
            <pc:sldMk cId="2584413510" sldId="291"/>
            <ac:picMk id="8" creationId="{E6BE47EE-28FF-4354-B33B-4D59B73A630D}"/>
          </ac:picMkLst>
        </pc:picChg>
      </pc:sldChg>
      <pc:sldChg chg="modSp modNotesTx">
        <pc:chgData name="Malin Andersen" userId="67895919-1e14-47ad-aa24-7fe5f76b678e" providerId="ADAL" clId="{5DCD4660-5E0B-4218-8F86-E95870D147F1}" dt="2020-12-15T21:28:11.003" v="4401" actId="962"/>
        <pc:sldMkLst>
          <pc:docMk/>
          <pc:sldMk cId="2787381860" sldId="292"/>
        </pc:sldMkLst>
        <pc:picChg chg="mod">
          <ac:chgData name="Malin Andersen" userId="67895919-1e14-47ad-aa24-7fe5f76b678e" providerId="ADAL" clId="{5DCD4660-5E0B-4218-8F86-E95870D147F1}" dt="2020-12-15T21:28:00.455" v="4333" actId="962"/>
          <ac:picMkLst>
            <pc:docMk/>
            <pc:sldMk cId="2787381860" sldId="292"/>
            <ac:picMk id="3" creationId="{E456D92E-E799-4170-804F-0264028AE8E7}"/>
          </ac:picMkLst>
        </pc:picChg>
        <pc:picChg chg="mod">
          <ac:chgData name="Malin Andersen" userId="67895919-1e14-47ad-aa24-7fe5f76b678e" providerId="ADAL" clId="{5DCD4660-5E0B-4218-8F86-E95870D147F1}" dt="2020-12-15T21:28:11.003" v="4401" actId="962"/>
          <ac:picMkLst>
            <pc:docMk/>
            <pc:sldMk cId="2787381860" sldId="292"/>
            <ac:picMk id="8" creationId="{03B553DC-F4B6-491E-8916-E5A512B1741F}"/>
          </ac:picMkLst>
        </pc:picChg>
      </pc:sldChg>
      <pc:sldChg chg="addSp delSp modSp modNotesTx">
        <pc:chgData name="Malin Andersen" userId="67895919-1e14-47ad-aa24-7fe5f76b678e" providerId="ADAL" clId="{5DCD4660-5E0B-4218-8F86-E95870D147F1}" dt="2020-12-22T10:21:53.712" v="5220" actId="20577"/>
        <pc:sldMkLst>
          <pc:docMk/>
          <pc:sldMk cId="48104253" sldId="293"/>
        </pc:sldMkLst>
        <pc:spChg chg="del">
          <ac:chgData name="Malin Andersen" userId="67895919-1e14-47ad-aa24-7fe5f76b678e" providerId="ADAL" clId="{5DCD4660-5E0B-4218-8F86-E95870D147F1}" dt="2020-12-09T14:56:36.724" v="613"/>
          <ac:spMkLst>
            <pc:docMk/>
            <pc:sldMk cId="48104253" sldId="293"/>
            <ac:spMk id="2" creationId="{6EA362E4-0154-4A45-8C8D-090F567AA729}"/>
          </ac:spMkLst>
        </pc:spChg>
        <pc:spChg chg="del">
          <ac:chgData name="Malin Andersen" userId="67895919-1e14-47ad-aa24-7fe5f76b678e" providerId="ADAL" clId="{5DCD4660-5E0B-4218-8F86-E95870D147F1}" dt="2020-12-09T14:56:36.724" v="613"/>
          <ac:spMkLst>
            <pc:docMk/>
            <pc:sldMk cId="48104253" sldId="293"/>
            <ac:spMk id="3" creationId="{9C783E17-C6B1-49D1-854F-B63758890CF3}"/>
          </ac:spMkLst>
        </pc:spChg>
        <pc:spChg chg="del">
          <ac:chgData name="Malin Andersen" userId="67895919-1e14-47ad-aa24-7fe5f76b678e" providerId="ADAL" clId="{5DCD4660-5E0B-4218-8F86-E95870D147F1}" dt="2020-12-09T14:56:36.724" v="613"/>
          <ac:spMkLst>
            <pc:docMk/>
            <pc:sldMk cId="48104253" sldId="293"/>
            <ac:spMk id="4" creationId="{C1B975CA-9EBE-4582-95C3-6FC0B38A05D9}"/>
          </ac:spMkLst>
        </pc:spChg>
        <pc:spChg chg="add mod">
          <ac:chgData name="Malin Andersen" userId="67895919-1e14-47ad-aa24-7fe5f76b678e" providerId="ADAL" clId="{5DCD4660-5E0B-4218-8F86-E95870D147F1}" dt="2020-12-09T14:56:44.756" v="625" actId="20577"/>
          <ac:spMkLst>
            <pc:docMk/>
            <pc:sldMk cId="48104253" sldId="293"/>
            <ac:spMk id="5" creationId="{36E122EE-1302-49D8-8C69-3D7BBEDD7121}"/>
          </ac:spMkLst>
        </pc:spChg>
        <pc:spChg chg="add del mod">
          <ac:chgData name="Malin Andersen" userId="67895919-1e14-47ad-aa24-7fe5f76b678e" providerId="ADAL" clId="{5DCD4660-5E0B-4218-8F86-E95870D147F1}" dt="2020-12-09T15:56:46.324" v="626" actId="931"/>
          <ac:spMkLst>
            <pc:docMk/>
            <pc:sldMk cId="48104253" sldId="293"/>
            <ac:spMk id="6" creationId="{11163DB1-FB55-4F5B-9F7E-0A61B4581810}"/>
          </ac:spMkLst>
        </pc:spChg>
        <pc:picChg chg="add mod">
          <ac:chgData name="Malin Andersen" userId="67895919-1e14-47ad-aa24-7fe5f76b678e" providerId="ADAL" clId="{5DCD4660-5E0B-4218-8F86-E95870D147F1}" dt="2020-12-15T21:27:28.371" v="4229" actId="962"/>
          <ac:picMkLst>
            <pc:docMk/>
            <pc:sldMk cId="48104253" sldId="293"/>
            <ac:picMk id="8" creationId="{6CC4DEAC-F604-451B-A1E8-95336E585992}"/>
          </ac:picMkLst>
        </pc:picChg>
      </pc:sldChg>
      <pc:sldChg chg="addSp delSp modSp add ord modNotes modNotesTx">
        <pc:chgData name="Malin Andersen" userId="67895919-1e14-47ad-aa24-7fe5f76b678e" providerId="ADAL" clId="{5DCD4660-5E0B-4218-8F86-E95870D147F1}" dt="2020-12-22T16:18:40.649" v="5542"/>
        <pc:sldMkLst>
          <pc:docMk/>
          <pc:sldMk cId="2916795174" sldId="294"/>
        </pc:sldMkLst>
        <pc:spChg chg="del">
          <ac:chgData name="Malin Andersen" userId="67895919-1e14-47ad-aa24-7fe5f76b678e" providerId="ADAL" clId="{5DCD4660-5E0B-4218-8F86-E95870D147F1}" dt="2020-12-09T16:01:33.773" v="655"/>
          <ac:spMkLst>
            <pc:docMk/>
            <pc:sldMk cId="2916795174" sldId="294"/>
            <ac:spMk id="2" creationId="{6EA362E4-0154-4A45-8C8D-090F567AA729}"/>
          </ac:spMkLst>
        </pc:spChg>
        <pc:spChg chg="del">
          <ac:chgData name="Malin Andersen" userId="67895919-1e14-47ad-aa24-7fe5f76b678e" providerId="ADAL" clId="{5DCD4660-5E0B-4218-8F86-E95870D147F1}" dt="2020-12-09T16:01:33.773" v="655"/>
          <ac:spMkLst>
            <pc:docMk/>
            <pc:sldMk cId="2916795174" sldId="294"/>
            <ac:spMk id="3" creationId="{9C783E17-C6B1-49D1-854F-B63758890CF3}"/>
          </ac:spMkLst>
        </pc:spChg>
        <pc:spChg chg="del">
          <ac:chgData name="Malin Andersen" userId="67895919-1e14-47ad-aa24-7fe5f76b678e" providerId="ADAL" clId="{5DCD4660-5E0B-4218-8F86-E95870D147F1}" dt="2020-12-09T16:01:33.773" v="655"/>
          <ac:spMkLst>
            <pc:docMk/>
            <pc:sldMk cId="2916795174" sldId="294"/>
            <ac:spMk id="4" creationId="{C1B975CA-9EBE-4582-95C3-6FC0B38A05D9}"/>
          </ac:spMkLst>
        </pc:spChg>
        <pc:spChg chg="add mod">
          <ac:chgData name="Malin Andersen" userId="67895919-1e14-47ad-aa24-7fe5f76b678e" providerId="ADAL" clId="{5DCD4660-5E0B-4218-8F86-E95870D147F1}" dt="2020-12-22T16:18:40.649" v="5542"/>
          <ac:spMkLst>
            <pc:docMk/>
            <pc:sldMk cId="2916795174" sldId="294"/>
            <ac:spMk id="5" creationId="{24E9A45E-AC06-4F49-8F27-B15F982D8007}"/>
          </ac:spMkLst>
        </pc:spChg>
        <pc:spChg chg="add del mod">
          <ac:chgData name="Malin Andersen" userId="67895919-1e14-47ad-aa24-7fe5f76b678e" providerId="ADAL" clId="{5DCD4660-5E0B-4218-8F86-E95870D147F1}" dt="2020-12-09T16:10:57.024" v="706" actId="931"/>
          <ac:spMkLst>
            <pc:docMk/>
            <pc:sldMk cId="2916795174" sldId="294"/>
            <ac:spMk id="6" creationId="{ADE912A3-9524-4D3A-9763-9C955D1D3391}"/>
          </ac:spMkLst>
        </pc:spChg>
        <pc:picChg chg="add mod">
          <ac:chgData name="Malin Andersen" userId="67895919-1e14-47ad-aa24-7fe5f76b678e" providerId="ADAL" clId="{5DCD4660-5E0B-4218-8F86-E95870D147F1}" dt="2020-12-09T16:12:19.929" v="905" actId="962"/>
          <ac:picMkLst>
            <pc:docMk/>
            <pc:sldMk cId="2916795174" sldId="294"/>
            <ac:picMk id="8" creationId="{FF90DCFA-A7E3-4EED-945B-E07E98B32FF3}"/>
          </ac:picMkLst>
        </pc:picChg>
      </pc:sldChg>
      <pc:sldChg chg="addSp delSp modSp add modNotesTx">
        <pc:chgData name="Malin Andersen" userId="67895919-1e14-47ad-aa24-7fe5f76b678e" providerId="ADAL" clId="{5DCD4660-5E0B-4218-8F86-E95870D147F1}" dt="2020-12-15T21:27:24.047" v="4228" actId="962"/>
        <pc:sldMkLst>
          <pc:docMk/>
          <pc:sldMk cId="3289061853" sldId="295"/>
        </pc:sldMkLst>
        <pc:spChg chg="del">
          <ac:chgData name="Malin Andersen" userId="67895919-1e14-47ad-aa24-7fe5f76b678e" providerId="ADAL" clId="{5DCD4660-5E0B-4218-8F86-E95870D147F1}" dt="2020-12-09T15:59:24.113" v="630"/>
          <ac:spMkLst>
            <pc:docMk/>
            <pc:sldMk cId="3289061853" sldId="295"/>
            <ac:spMk id="2" creationId="{E8655501-9759-4A78-8951-4E54EEEB2FF1}"/>
          </ac:spMkLst>
        </pc:spChg>
        <pc:spChg chg="del">
          <ac:chgData name="Malin Andersen" userId="67895919-1e14-47ad-aa24-7fe5f76b678e" providerId="ADAL" clId="{5DCD4660-5E0B-4218-8F86-E95870D147F1}" dt="2020-12-09T15:59:24.113" v="630"/>
          <ac:spMkLst>
            <pc:docMk/>
            <pc:sldMk cId="3289061853" sldId="295"/>
            <ac:spMk id="3" creationId="{86DC9344-8290-4FF6-943D-4B0F9B265319}"/>
          </ac:spMkLst>
        </pc:spChg>
        <pc:spChg chg="del">
          <ac:chgData name="Malin Andersen" userId="67895919-1e14-47ad-aa24-7fe5f76b678e" providerId="ADAL" clId="{5DCD4660-5E0B-4218-8F86-E95870D147F1}" dt="2020-12-09T15:59:24.113" v="630"/>
          <ac:spMkLst>
            <pc:docMk/>
            <pc:sldMk cId="3289061853" sldId="295"/>
            <ac:spMk id="4" creationId="{A17B3E47-ACF9-4002-9C09-4BEB576AD452}"/>
          </ac:spMkLst>
        </pc:spChg>
        <pc:spChg chg="add mod">
          <ac:chgData name="Malin Andersen" userId="67895919-1e14-47ad-aa24-7fe5f76b678e" providerId="ADAL" clId="{5DCD4660-5E0B-4218-8F86-E95870D147F1}" dt="2020-12-09T16:25:18.700" v="956" actId="1076"/>
          <ac:spMkLst>
            <pc:docMk/>
            <pc:sldMk cId="3289061853" sldId="295"/>
            <ac:spMk id="5" creationId="{50EA7DF8-495B-4CBF-8A21-ADCF3F9D9E6B}"/>
          </ac:spMkLst>
        </pc:spChg>
        <pc:spChg chg="add del mod">
          <ac:chgData name="Malin Andersen" userId="67895919-1e14-47ad-aa24-7fe5f76b678e" providerId="ADAL" clId="{5DCD4660-5E0B-4218-8F86-E95870D147F1}" dt="2020-12-09T15:59:38.977" v="631" actId="931"/>
          <ac:spMkLst>
            <pc:docMk/>
            <pc:sldMk cId="3289061853" sldId="295"/>
            <ac:spMk id="6" creationId="{8B375BDC-9A70-4836-BDD7-EE358E85302B}"/>
          </ac:spMkLst>
        </pc:spChg>
        <pc:picChg chg="add mod">
          <ac:chgData name="Malin Andersen" userId="67895919-1e14-47ad-aa24-7fe5f76b678e" providerId="ADAL" clId="{5DCD4660-5E0B-4218-8F86-E95870D147F1}" dt="2020-12-15T21:27:24.047" v="4228" actId="962"/>
          <ac:picMkLst>
            <pc:docMk/>
            <pc:sldMk cId="3289061853" sldId="295"/>
            <ac:picMk id="8" creationId="{BEC907F5-AB19-4D4B-8F14-6AAF397335EE}"/>
          </ac:picMkLst>
        </pc:picChg>
      </pc:sldChg>
      <pc:sldChg chg="addSp delSp modSp add modNotes modNotesTx">
        <pc:chgData name="Malin Andersen" userId="67895919-1e14-47ad-aa24-7fe5f76b678e" providerId="ADAL" clId="{5DCD4660-5E0B-4218-8F86-E95870D147F1}" dt="2020-12-15T21:27:16.897" v="4227" actId="962"/>
        <pc:sldMkLst>
          <pc:docMk/>
          <pc:sldMk cId="766259836" sldId="296"/>
        </pc:sldMkLst>
        <pc:spChg chg="del">
          <ac:chgData name="Malin Andersen" userId="67895919-1e14-47ad-aa24-7fe5f76b678e" providerId="ADAL" clId="{5DCD4660-5E0B-4218-8F86-E95870D147F1}" dt="2020-12-09T16:02:56.839" v="657" actId="931"/>
          <ac:spMkLst>
            <pc:docMk/>
            <pc:sldMk cId="766259836" sldId="296"/>
            <ac:spMk id="2" creationId="{E4D30A9B-98E4-46A5-A0F1-143466C53082}"/>
          </ac:spMkLst>
        </pc:spChg>
        <pc:spChg chg="mod">
          <ac:chgData name="Malin Andersen" userId="67895919-1e14-47ad-aa24-7fe5f76b678e" providerId="ADAL" clId="{5DCD4660-5E0B-4218-8F86-E95870D147F1}" dt="2020-12-09T16:03:25.832" v="683" actId="20577"/>
          <ac:spMkLst>
            <pc:docMk/>
            <pc:sldMk cId="766259836" sldId="296"/>
            <ac:spMk id="3" creationId="{FC4DCFEA-A8E6-4B7E-AD75-17F7A6457948}"/>
          </ac:spMkLst>
        </pc:spChg>
        <pc:picChg chg="add mod">
          <ac:chgData name="Malin Andersen" userId="67895919-1e14-47ad-aa24-7fe5f76b678e" providerId="ADAL" clId="{5DCD4660-5E0B-4218-8F86-E95870D147F1}" dt="2020-12-15T21:27:16.897" v="4227" actId="962"/>
          <ac:picMkLst>
            <pc:docMk/>
            <pc:sldMk cId="766259836" sldId="296"/>
            <ac:picMk id="5" creationId="{6DD46D91-B754-4E25-8A3C-64D55A280559}"/>
          </ac:picMkLst>
        </pc:picChg>
      </pc:sldChg>
      <pc:sldChg chg="addSp delSp modSp add modNotes modNotesTx">
        <pc:chgData name="Malin Andersen" userId="67895919-1e14-47ad-aa24-7fe5f76b678e" providerId="ADAL" clId="{5DCD4660-5E0B-4218-8F86-E95870D147F1}" dt="2020-12-22T16:19:07.870" v="5543"/>
        <pc:sldMkLst>
          <pc:docMk/>
          <pc:sldMk cId="2681028383" sldId="297"/>
        </pc:sldMkLst>
        <pc:spChg chg="mod">
          <ac:chgData name="Malin Andersen" userId="67895919-1e14-47ad-aa24-7fe5f76b678e" providerId="ADAL" clId="{5DCD4660-5E0B-4218-8F86-E95870D147F1}" dt="2020-12-22T16:19:07.870" v="5543"/>
          <ac:spMkLst>
            <pc:docMk/>
            <pc:sldMk cId="2681028383" sldId="297"/>
            <ac:spMk id="5" creationId="{24E9A45E-AC06-4F49-8F27-B15F982D8007}"/>
          </ac:spMkLst>
        </pc:spChg>
        <pc:spChg chg="del">
          <ac:chgData name="Malin Andersen" userId="67895919-1e14-47ad-aa24-7fe5f76b678e" providerId="ADAL" clId="{5DCD4660-5E0B-4218-8F86-E95870D147F1}" dt="2020-12-09T22:32:11.526" v="961" actId="931"/>
          <ac:spMkLst>
            <pc:docMk/>
            <pc:sldMk cId="2681028383" sldId="297"/>
            <ac:spMk id="6" creationId="{ADE912A3-9524-4D3A-9763-9C955D1D3391}"/>
          </ac:spMkLst>
        </pc:spChg>
        <pc:picChg chg="add mod">
          <ac:chgData name="Malin Andersen" userId="67895919-1e14-47ad-aa24-7fe5f76b678e" providerId="ADAL" clId="{5DCD4660-5E0B-4218-8F86-E95870D147F1}" dt="2020-12-10T08:22:59.343" v="1058" actId="1076"/>
          <ac:picMkLst>
            <pc:docMk/>
            <pc:sldMk cId="2681028383" sldId="297"/>
            <ac:picMk id="3" creationId="{6FD38DD6-E027-440F-975E-6EE11F5D831B}"/>
          </ac:picMkLst>
        </pc:picChg>
      </pc:sldChg>
      <pc:sldChg chg="addSp delSp modSp add modNotes modNotesTx">
        <pc:chgData name="Malin Andersen" userId="67895919-1e14-47ad-aa24-7fe5f76b678e" providerId="ADAL" clId="{5DCD4660-5E0B-4218-8F86-E95870D147F1}" dt="2020-12-09T16:25:49.172" v="959" actId="6549"/>
        <pc:sldMkLst>
          <pc:docMk/>
          <pc:sldMk cId="761942848" sldId="298"/>
        </pc:sldMkLst>
        <pc:spChg chg="add mod">
          <ac:chgData name="Malin Andersen" userId="67895919-1e14-47ad-aa24-7fe5f76b678e" providerId="ADAL" clId="{5DCD4660-5E0B-4218-8F86-E95870D147F1}" dt="2020-12-09T16:24:44.718" v="952" actId="1076"/>
          <ac:spMkLst>
            <pc:docMk/>
            <pc:sldMk cId="761942848" sldId="298"/>
            <ac:spMk id="2" creationId="{9AD1DDA2-2A97-46AF-B26A-5E75C3574630}"/>
          </ac:spMkLst>
        </pc:spChg>
        <pc:spChg chg="add del mod">
          <ac:chgData name="Malin Andersen" userId="67895919-1e14-47ad-aa24-7fe5f76b678e" providerId="ADAL" clId="{5DCD4660-5E0B-4218-8F86-E95870D147F1}" dt="2020-12-09T16:24:04.682" v="931" actId="931"/>
          <ac:spMkLst>
            <pc:docMk/>
            <pc:sldMk cId="761942848" sldId="298"/>
            <ac:spMk id="3" creationId="{7DB64BBB-CE83-418A-B1DE-DE86D63A0FBA}"/>
          </ac:spMkLst>
        </pc:spChg>
        <pc:spChg chg="del">
          <ac:chgData name="Malin Andersen" userId="67895919-1e14-47ad-aa24-7fe5f76b678e" providerId="ADAL" clId="{5DCD4660-5E0B-4218-8F86-E95870D147F1}" dt="2020-12-09T16:23:51.899" v="930"/>
          <ac:spMkLst>
            <pc:docMk/>
            <pc:sldMk cId="761942848" sldId="298"/>
            <ac:spMk id="5" creationId="{24E9A45E-AC06-4F49-8F27-B15F982D8007}"/>
          </ac:spMkLst>
        </pc:spChg>
        <pc:spChg chg="del">
          <ac:chgData name="Malin Andersen" userId="67895919-1e14-47ad-aa24-7fe5f76b678e" providerId="ADAL" clId="{5DCD4660-5E0B-4218-8F86-E95870D147F1}" dt="2020-12-09T16:23:51.899" v="930"/>
          <ac:spMkLst>
            <pc:docMk/>
            <pc:sldMk cId="761942848" sldId="298"/>
            <ac:spMk id="6" creationId="{ADE912A3-9524-4D3A-9763-9C955D1D3391}"/>
          </ac:spMkLst>
        </pc:spChg>
        <pc:picChg chg="add mod">
          <ac:chgData name="Malin Andersen" userId="67895919-1e14-47ad-aa24-7fe5f76b678e" providerId="ADAL" clId="{5DCD4660-5E0B-4218-8F86-E95870D147F1}" dt="2020-12-09T16:24:12.599" v="932" actId="962"/>
          <ac:picMkLst>
            <pc:docMk/>
            <pc:sldMk cId="761942848" sldId="298"/>
            <ac:picMk id="7" creationId="{DC2E68B2-31DD-4748-AF46-5521CD32F325}"/>
          </ac:picMkLst>
        </pc:picChg>
      </pc:sldChg>
      <pc:sldChg chg="addSp delSp modSp add modNotes modNotesTx">
        <pc:chgData name="Malin Andersen" userId="67895919-1e14-47ad-aa24-7fe5f76b678e" providerId="ADAL" clId="{5DCD4660-5E0B-4218-8F86-E95870D147F1}" dt="2020-12-22T16:19:14.435" v="5544"/>
        <pc:sldMkLst>
          <pc:docMk/>
          <pc:sldMk cId="1147951495" sldId="299"/>
        </pc:sldMkLst>
        <pc:spChg chg="del">
          <ac:chgData name="Malin Andersen" userId="67895919-1e14-47ad-aa24-7fe5f76b678e" providerId="ADAL" clId="{5DCD4660-5E0B-4218-8F86-E95870D147F1}" dt="2020-12-10T10:28:16.444" v="1062" actId="931"/>
          <ac:spMkLst>
            <pc:docMk/>
            <pc:sldMk cId="1147951495" sldId="299"/>
            <ac:spMk id="2" creationId="{1A970886-2F53-4782-8577-2DBC93DDC2B1}"/>
          </ac:spMkLst>
        </pc:spChg>
        <pc:spChg chg="mod">
          <ac:chgData name="Malin Andersen" userId="67895919-1e14-47ad-aa24-7fe5f76b678e" providerId="ADAL" clId="{5DCD4660-5E0B-4218-8F86-E95870D147F1}" dt="2020-12-22T16:19:14.435" v="5544"/>
          <ac:spMkLst>
            <pc:docMk/>
            <pc:sldMk cId="1147951495" sldId="299"/>
            <ac:spMk id="3" creationId="{8343E431-9B5F-40B8-AF5E-9DE05B50BE6C}"/>
          </ac:spMkLst>
        </pc:spChg>
        <pc:picChg chg="add mod">
          <ac:chgData name="Malin Andersen" userId="67895919-1e14-47ad-aa24-7fe5f76b678e" providerId="ADAL" clId="{5DCD4660-5E0B-4218-8F86-E95870D147F1}" dt="2020-12-10T10:31:16.379" v="1170" actId="962"/>
          <ac:picMkLst>
            <pc:docMk/>
            <pc:sldMk cId="1147951495" sldId="299"/>
            <ac:picMk id="5" creationId="{0D95B56A-9364-4297-B58B-58A1775DC5E5}"/>
          </ac:picMkLst>
        </pc:picChg>
      </pc:sldChg>
      <pc:sldChg chg="addSp delSp modSp add modNotes modNotesTx">
        <pc:chgData name="Malin Andersen" userId="67895919-1e14-47ad-aa24-7fe5f76b678e" providerId="ADAL" clId="{5DCD4660-5E0B-4218-8F86-E95870D147F1}" dt="2020-12-22T16:19:18.992" v="5545"/>
        <pc:sldMkLst>
          <pc:docMk/>
          <pc:sldMk cId="2341991559" sldId="300"/>
        </pc:sldMkLst>
        <pc:spChg chg="del">
          <ac:chgData name="Malin Andersen" userId="67895919-1e14-47ad-aa24-7fe5f76b678e" providerId="ADAL" clId="{5DCD4660-5E0B-4218-8F86-E95870D147F1}" dt="2020-12-10T10:46:06.207" v="1190" actId="931"/>
          <ac:spMkLst>
            <pc:docMk/>
            <pc:sldMk cId="2341991559" sldId="300"/>
            <ac:spMk id="2" creationId="{D04126A6-4B32-4323-B3BD-B9D58FB3D538}"/>
          </ac:spMkLst>
        </pc:spChg>
        <pc:spChg chg="mod">
          <ac:chgData name="Malin Andersen" userId="67895919-1e14-47ad-aa24-7fe5f76b678e" providerId="ADAL" clId="{5DCD4660-5E0B-4218-8F86-E95870D147F1}" dt="2020-12-22T16:19:18.992" v="5545"/>
          <ac:spMkLst>
            <pc:docMk/>
            <pc:sldMk cId="2341991559" sldId="300"/>
            <ac:spMk id="3" creationId="{8675832C-C62F-436E-90E0-1D017AA880DC}"/>
          </ac:spMkLst>
        </pc:spChg>
        <pc:picChg chg="add mod">
          <ac:chgData name="Malin Andersen" userId="67895919-1e14-47ad-aa24-7fe5f76b678e" providerId="ADAL" clId="{5DCD4660-5E0B-4218-8F86-E95870D147F1}" dt="2020-12-10T10:46:30.703" v="1300" actId="962"/>
          <ac:picMkLst>
            <pc:docMk/>
            <pc:sldMk cId="2341991559" sldId="300"/>
            <ac:picMk id="5" creationId="{380427F1-1EAB-482A-B815-4DFDE418CE3E}"/>
          </ac:picMkLst>
        </pc:picChg>
      </pc:sldChg>
      <pc:sldChg chg="addSp delSp modSp add modNotesTx">
        <pc:chgData name="Malin Andersen" userId="67895919-1e14-47ad-aa24-7fe5f76b678e" providerId="ADAL" clId="{5DCD4660-5E0B-4218-8F86-E95870D147F1}" dt="2020-12-22T16:19:24.209" v="5546"/>
        <pc:sldMkLst>
          <pc:docMk/>
          <pc:sldMk cId="1922535154" sldId="301"/>
        </pc:sldMkLst>
        <pc:spChg chg="del">
          <ac:chgData name="Malin Andersen" userId="67895919-1e14-47ad-aa24-7fe5f76b678e" providerId="ADAL" clId="{5DCD4660-5E0B-4218-8F86-E95870D147F1}" dt="2020-12-10T10:52:13.698" v="1334" actId="931"/>
          <ac:spMkLst>
            <pc:docMk/>
            <pc:sldMk cId="1922535154" sldId="301"/>
            <ac:spMk id="2" creationId="{584C43CE-04FD-4445-9328-79E4C262EED6}"/>
          </ac:spMkLst>
        </pc:spChg>
        <pc:spChg chg="mod">
          <ac:chgData name="Malin Andersen" userId="67895919-1e14-47ad-aa24-7fe5f76b678e" providerId="ADAL" clId="{5DCD4660-5E0B-4218-8F86-E95870D147F1}" dt="2020-12-22T16:19:24.209" v="5546"/>
          <ac:spMkLst>
            <pc:docMk/>
            <pc:sldMk cId="1922535154" sldId="301"/>
            <ac:spMk id="3" creationId="{FDB4789B-938A-40C7-B04E-5AC8DC1129B9}"/>
          </ac:spMkLst>
        </pc:spChg>
        <pc:picChg chg="add mod">
          <ac:chgData name="Malin Andersen" userId="67895919-1e14-47ad-aa24-7fe5f76b678e" providerId="ADAL" clId="{5DCD4660-5E0B-4218-8F86-E95870D147F1}" dt="2020-12-10T10:52:24.262" v="1386" actId="962"/>
          <ac:picMkLst>
            <pc:docMk/>
            <pc:sldMk cId="1922535154" sldId="301"/>
            <ac:picMk id="5" creationId="{A8FB525D-C20B-47C1-AED0-208D008D0A45}"/>
          </ac:picMkLst>
        </pc:picChg>
      </pc:sldChg>
      <pc:sldChg chg="addSp delSp modSp add modNotes modNotesTx">
        <pc:chgData name="Malin Andersen" userId="67895919-1e14-47ad-aa24-7fe5f76b678e" providerId="ADAL" clId="{5DCD4660-5E0B-4218-8F86-E95870D147F1}" dt="2020-12-10T11:28:45.812" v="1466" actId="1076"/>
        <pc:sldMkLst>
          <pc:docMk/>
          <pc:sldMk cId="1722336554" sldId="302"/>
        </pc:sldMkLst>
        <pc:spChg chg="del">
          <ac:chgData name="Malin Andersen" userId="67895919-1e14-47ad-aa24-7fe5f76b678e" providerId="ADAL" clId="{5DCD4660-5E0B-4218-8F86-E95870D147F1}" dt="2020-12-10T11:26:38.454" v="1400" actId="931"/>
          <ac:spMkLst>
            <pc:docMk/>
            <pc:sldMk cId="1722336554" sldId="302"/>
            <ac:spMk id="2" creationId="{D418AE78-E6E4-4711-AEA7-E3CC250B9FC4}"/>
          </ac:spMkLst>
        </pc:spChg>
        <pc:spChg chg="mod">
          <ac:chgData name="Malin Andersen" userId="67895919-1e14-47ad-aa24-7fe5f76b678e" providerId="ADAL" clId="{5DCD4660-5E0B-4218-8F86-E95870D147F1}" dt="2020-12-10T11:26:27.057" v="1399" actId="20577"/>
          <ac:spMkLst>
            <pc:docMk/>
            <pc:sldMk cId="1722336554" sldId="302"/>
            <ac:spMk id="3" creationId="{1CF10554-0306-4BEB-8F72-FB9F7409F2B0}"/>
          </ac:spMkLst>
        </pc:spChg>
        <pc:picChg chg="add mod">
          <ac:chgData name="Malin Andersen" userId="67895919-1e14-47ad-aa24-7fe5f76b678e" providerId="ADAL" clId="{5DCD4660-5E0B-4218-8F86-E95870D147F1}" dt="2020-12-10T11:28:45.812" v="1466" actId="1076"/>
          <ac:picMkLst>
            <pc:docMk/>
            <pc:sldMk cId="1722336554" sldId="302"/>
            <ac:picMk id="5" creationId="{7BD151D9-2845-41C8-8B09-6C2511BE8E9A}"/>
          </ac:picMkLst>
        </pc:picChg>
      </pc:sldChg>
      <pc:sldChg chg="addSp delSp modSp add modNotesTx">
        <pc:chgData name="Malin Andersen" userId="67895919-1e14-47ad-aa24-7fe5f76b678e" providerId="ADAL" clId="{5DCD4660-5E0B-4218-8F86-E95870D147F1}" dt="2020-12-22T16:19:28.264" v="5547"/>
        <pc:sldMkLst>
          <pc:docMk/>
          <pc:sldMk cId="1179571501" sldId="303"/>
        </pc:sldMkLst>
        <pc:spChg chg="del">
          <ac:chgData name="Malin Andersen" userId="67895919-1e14-47ad-aa24-7fe5f76b678e" providerId="ADAL" clId="{5DCD4660-5E0B-4218-8F86-E95870D147F1}" dt="2020-12-10T15:52:21.891" v="1473" actId="931"/>
          <ac:spMkLst>
            <pc:docMk/>
            <pc:sldMk cId="1179571501" sldId="303"/>
            <ac:spMk id="2" creationId="{04D7130F-F547-4962-B9CE-1E54B1A12F81}"/>
          </ac:spMkLst>
        </pc:spChg>
        <pc:spChg chg="mod">
          <ac:chgData name="Malin Andersen" userId="67895919-1e14-47ad-aa24-7fe5f76b678e" providerId="ADAL" clId="{5DCD4660-5E0B-4218-8F86-E95870D147F1}" dt="2020-12-22T16:19:28.264" v="5547"/>
          <ac:spMkLst>
            <pc:docMk/>
            <pc:sldMk cId="1179571501" sldId="303"/>
            <ac:spMk id="3" creationId="{3C6B590E-85B2-41AB-B05E-E4DBE6B21EF7}"/>
          </ac:spMkLst>
        </pc:spChg>
        <pc:picChg chg="add mod">
          <ac:chgData name="Malin Andersen" userId="67895919-1e14-47ad-aa24-7fe5f76b678e" providerId="ADAL" clId="{5DCD4660-5E0B-4218-8F86-E95870D147F1}" dt="2020-12-15T21:26:38.718" v="4185" actId="962"/>
          <ac:picMkLst>
            <pc:docMk/>
            <pc:sldMk cId="1179571501" sldId="303"/>
            <ac:picMk id="5" creationId="{254C2BBB-9C1C-4AE8-9AEF-4469D12F17E8}"/>
          </ac:picMkLst>
        </pc:picChg>
      </pc:sldChg>
      <pc:sldChg chg="addSp delSp modSp add modNotesTx">
        <pc:chgData name="Malin Andersen" userId="67895919-1e14-47ad-aa24-7fe5f76b678e" providerId="ADAL" clId="{5DCD4660-5E0B-4218-8F86-E95870D147F1}" dt="2020-12-22T16:19:35.806" v="5549"/>
        <pc:sldMkLst>
          <pc:docMk/>
          <pc:sldMk cId="2186210215" sldId="304"/>
        </pc:sldMkLst>
        <pc:spChg chg="del">
          <ac:chgData name="Malin Andersen" userId="67895919-1e14-47ad-aa24-7fe5f76b678e" providerId="ADAL" clId="{5DCD4660-5E0B-4218-8F86-E95870D147F1}" dt="2020-12-10T19:27:44.110" v="1590" actId="931"/>
          <ac:spMkLst>
            <pc:docMk/>
            <pc:sldMk cId="2186210215" sldId="304"/>
            <ac:spMk id="2" creationId="{B5588899-9D5C-453C-9967-ACA7CE1D9955}"/>
          </ac:spMkLst>
        </pc:spChg>
        <pc:spChg chg="mod">
          <ac:chgData name="Malin Andersen" userId="67895919-1e14-47ad-aa24-7fe5f76b678e" providerId="ADAL" clId="{5DCD4660-5E0B-4218-8F86-E95870D147F1}" dt="2020-12-22T16:19:35.806" v="5549"/>
          <ac:spMkLst>
            <pc:docMk/>
            <pc:sldMk cId="2186210215" sldId="304"/>
            <ac:spMk id="3" creationId="{F1AB3211-3110-4E7C-9EB2-F68D9416EB02}"/>
          </ac:spMkLst>
        </pc:spChg>
        <pc:picChg chg="add mod">
          <ac:chgData name="Malin Andersen" userId="67895919-1e14-47ad-aa24-7fe5f76b678e" providerId="ADAL" clId="{5DCD4660-5E0B-4218-8F86-E95870D147F1}" dt="2020-12-15T21:26:10.301" v="4147" actId="14100"/>
          <ac:picMkLst>
            <pc:docMk/>
            <pc:sldMk cId="2186210215" sldId="304"/>
            <ac:picMk id="5" creationId="{9DB4017F-F1AE-42E1-9461-3BCA9CD74010}"/>
          </ac:picMkLst>
        </pc:picChg>
      </pc:sldChg>
      <pc:sldChg chg="addSp delSp modSp add modNotesTx">
        <pc:chgData name="Malin Andersen" userId="67895919-1e14-47ad-aa24-7fe5f76b678e" providerId="ADAL" clId="{5DCD4660-5E0B-4218-8F86-E95870D147F1}" dt="2020-12-22T16:19:32.145" v="5548"/>
        <pc:sldMkLst>
          <pc:docMk/>
          <pc:sldMk cId="2098680163" sldId="305"/>
        </pc:sldMkLst>
        <pc:spChg chg="del">
          <ac:chgData name="Malin Andersen" userId="67895919-1e14-47ad-aa24-7fe5f76b678e" providerId="ADAL" clId="{5DCD4660-5E0B-4218-8F86-E95870D147F1}" dt="2020-12-10T15:54:28.022" v="1497" actId="931"/>
          <ac:spMkLst>
            <pc:docMk/>
            <pc:sldMk cId="2098680163" sldId="305"/>
            <ac:spMk id="2" creationId="{EF46A4D5-5796-4E46-A976-A8235ECC74B7}"/>
          </ac:spMkLst>
        </pc:spChg>
        <pc:spChg chg="mod">
          <ac:chgData name="Malin Andersen" userId="67895919-1e14-47ad-aa24-7fe5f76b678e" providerId="ADAL" clId="{5DCD4660-5E0B-4218-8F86-E95870D147F1}" dt="2020-12-22T16:19:32.145" v="5548"/>
          <ac:spMkLst>
            <pc:docMk/>
            <pc:sldMk cId="2098680163" sldId="305"/>
            <ac:spMk id="3" creationId="{8345DB2E-B14A-4B9F-A5A4-D8B46394945F}"/>
          </ac:spMkLst>
        </pc:spChg>
        <pc:picChg chg="add mod">
          <ac:chgData name="Malin Andersen" userId="67895919-1e14-47ad-aa24-7fe5f76b678e" providerId="ADAL" clId="{5DCD4660-5E0B-4218-8F86-E95870D147F1}" dt="2020-12-15T21:26:28.655" v="4149" actId="1076"/>
          <ac:picMkLst>
            <pc:docMk/>
            <pc:sldMk cId="2098680163" sldId="305"/>
            <ac:picMk id="5" creationId="{E738A0A5-9C85-47E2-8DB3-CDE40DD75502}"/>
          </ac:picMkLst>
        </pc:picChg>
      </pc:sldChg>
      <pc:sldChg chg="addSp delSp modSp add modNotesTx">
        <pc:chgData name="Malin Andersen" userId="67895919-1e14-47ad-aa24-7fe5f76b678e" providerId="ADAL" clId="{5DCD4660-5E0B-4218-8F86-E95870D147F1}" dt="2020-12-22T10:28:50.221" v="5255" actId="20577"/>
        <pc:sldMkLst>
          <pc:docMk/>
          <pc:sldMk cId="3998591871" sldId="306"/>
        </pc:sldMkLst>
        <pc:spChg chg="del">
          <ac:chgData name="Malin Andersen" userId="67895919-1e14-47ad-aa24-7fe5f76b678e" providerId="ADAL" clId="{5DCD4660-5E0B-4218-8F86-E95870D147F1}" dt="2020-12-11T08:55:41.771" v="1853" actId="931"/>
          <ac:spMkLst>
            <pc:docMk/>
            <pc:sldMk cId="3998591871" sldId="306"/>
            <ac:spMk id="2" creationId="{2263B511-F3CF-4FC0-8C80-0228026A1144}"/>
          </ac:spMkLst>
        </pc:spChg>
        <pc:spChg chg="mod">
          <ac:chgData name="Malin Andersen" userId="67895919-1e14-47ad-aa24-7fe5f76b678e" providerId="ADAL" clId="{5DCD4660-5E0B-4218-8F86-E95870D147F1}" dt="2020-12-11T08:59:18.433" v="1959" actId="20577"/>
          <ac:spMkLst>
            <pc:docMk/>
            <pc:sldMk cId="3998591871" sldId="306"/>
            <ac:spMk id="3" creationId="{86F3C8A3-F06A-4186-8103-1CEC5803AB35}"/>
          </ac:spMkLst>
        </pc:spChg>
        <pc:picChg chg="add mod">
          <ac:chgData name="Malin Andersen" userId="67895919-1e14-47ad-aa24-7fe5f76b678e" providerId="ADAL" clId="{5DCD4660-5E0B-4218-8F86-E95870D147F1}" dt="2020-12-15T21:25:30.816" v="4141" actId="962"/>
          <ac:picMkLst>
            <pc:docMk/>
            <pc:sldMk cId="3998591871" sldId="306"/>
            <ac:picMk id="5" creationId="{C8ABED0A-C561-4BDB-8CBA-736632F12AFC}"/>
          </ac:picMkLst>
        </pc:picChg>
      </pc:sldChg>
      <pc:sldChg chg="addSp delSp modSp add modNotesTx">
        <pc:chgData name="Malin Andersen" userId="67895919-1e14-47ad-aa24-7fe5f76b678e" providerId="ADAL" clId="{5DCD4660-5E0B-4218-8F86-E95870D147F1}" dt="2020-12-15T21:26:02.784" v="4145" actId="1076"/>
        <pc:sldMkLst>
          <pc:docMk/>
          <pc:sldMk cId="398834938" sldId="307"/>
        </pc:sldMkLst>
        <pc:spChg chg="del">
          <ac:chgData name="Malin Andersen" userId="67895919-1e14-47ad-aa24-7fe5f76b678e" providerId="ADAL" clId="{5DCD4660-5E0B-4218-8F86-E95870D147F1}" dt="2020-12-11T08:20:35.734" v="1681" actId="931"/>
          <ac:spMkLst>
            <pc:docMk/>
            <pc:sldMk cId="398834938" sldId="307"/>
            <ac:spMk id="2" creationId="{5D374FC0-EF70-4837-8E3C-0C53ADD68C54}"/>
          </ac:spMkLst>
        </pc:spChg>
        <pc:spChg chg="mod">
          <ac:chgData name="Malin Andersen" userId="67895919-1e14-47ad-aa24-7fe5f76b678e" providerId="ADAL" clId="{5DCD4660-5E0B-4218-8F86-E95870D147F1}" dt="2020-12-11T08:20:07.452" v="1680" actId="20577"/>
          <ac:spMkLst>
            <pc:docMk/>
            <pc:sldMk cId="398834938" sldId="307"/>
            <ac:spMk id="3" creationId="{2A391B9A-D403-4F84-A463-D81DCE462A18}"/>
          </ac:spMkLst>
        </pc:spChg>
        <pc:picChg chg="add mod">
          <ac:chgData name="Malin Andersen" userId="67895919-1e14-47ad-aa24-7fe5f76b678e" providerId="ADAL" clId="{5DCD4660-5E0B-4218-8F86-E95870D147F1}" dt="2020-12-15T21:26:02.784" v="4145" actId="1076"/>
          <ac:picMkLst>
            <pc:docMk/>
            <pc:sldMk cId="398834938" sldId="307"/>
            <ac:picMk id="5" creationId="{E5CCB1F9-C3E4-427A-9A75-794FAE6CD009}"/>
          </ac:picMkLst>
        </pc:picChg>
      </pc:sldChg>
      <pc:sldChg chg="addSp delSp modSp add modNotesTx">
        <pc:chgData name="Malin Andersen" userId="67895919-1e14-47ad-aa24-7fe5f76b678e" providerId="ADAL" clId="{5DCD4660-5E0B-4218-8F86-E95870D147F1}" dt="2020-12-22T10:27:38.954" v="5249" actId="20577"/>
        <pc:sldMkLst>
          <pc:docMk/>
          <pc:sldMk cId="1675188250" sldId="308"/>
        </pc:sldMkLst>
        <pc:spChg chg="del">
          <ac:chgData name="Malin Andersen" userId="67895919-1e14-47ad-aa24-7fe5f76b678e" providerId="ADAL" clId="{5DCD4660-5E0B-4218-8F86-E95870D147F1}" dt="2020-12-11T08:25:18.382" v="1768"/>
          <ac:spMkLst>
            <pc:docMk/>
            <pc:sldMk cId="1675188250" sldId="308"/>
            <ac:spMk id="2" creationId="{F9D4CA63-520C-449E-9F1C-C3A83081FF0B}"/>
          </ac:spMkLst>
        </pc:spChg>
        <pc:spChg chg="del">
          <ac:chgData name="Malin Andersen" userId="67895919-1e14-47ad-aa24-7fe5f76b678e" providerId="ADAL" clId="{5DCD4660-5E0B-4218-8F86-E95870D147F1}" dt="2020-12-11T08:25:18.382" v="1768"/>
          <ac:spMkLst>
            <pc:docMk/>
            <pc:sldMk cId="1675188250" sldId="308"/>
            <ac:spMk id="3" creationId="{EC961DE5-0FC0-4FF1-BD2D-7BA29D3C6DB4}"/>
          </ac:spMkLst>
        </pc:spChg>
        <pc:spChg chg="add mod">
          <ac:chgData name="Malin Andersen" userId="67895919-1e14-47ad-aa24-7fe5f76b678e" providerId="ADAL" clId="{5DCD4660-5E0B-4218-8F86-E95870D147F1}" dt="2020-12-11T08:27:37.781" v="1837" actId="20577"/>
          <ac:spMkLst>
            <pc:docMk/>
            <pc:sldMk cId="1675188250" sldId="308"/>
            <ac:spMk id="4" creationId="{D429EBAC-9BFE-4261-AA03-99DCE8DE2AA4}"/>
          </ac:spMkLst>
        </pc:spChg>
        <pc:spChg chg="add del mod">
          <ac:chgData name="Malin Andersen" userId="67895919-1e14-47ad-aa24-7fe5f76b678e" providerId="ADAL" clId="{5DCD4660-5E0B-4218-8F86-E95870D147F1}" dt="2020-12-11T08:25:28.077" v="1769" actId="931"/>
          <ac:spMkLst>
            <pc:docMk/>
            <pc:sldMk cId="1675188250" sldId="308"/>
            <ac:spMk id="5" creationId="{C181AC94-8E25-457A-AD11-551269DE2D40}"/>
          </ac:spMkLst>
        </pc:spChg>
        <pc:picChg chg="add mod modCrop">
          <ac:chgData name="Malin Andersen" userId="67895919-1e14-47ad-aa24-7fe5f76b678e" providerId="ADAL" clId="{5DCD4660-5E0B-4218-8F86-E95870D147F1}" dt="2020-12-11T08:27:22.654" v="1822" actId="962"/>
          <ac:picMkLst>
            <pc:docMk/>
            <pc:sldMk cId="1675188250" sldId="308"/>
            <ac:picMk id="7" creationId="{38A1B6DA-1680-4F2D-A822-383361396545}"/>
          </ac:picMkLst>
        </pc:picChg>
      </pc:sldChg>
      <pc:sldChg chg="addSp delSp modSp add modNotesTx">
        <pc:chgData name="Malin Andersen" userId="67895919-1e14-47ad-aa24-7fe5f76b678e" providerId="ADAL" clId="{5DCD4660-5E0B-4218-8F86-E95870D147F1}" dt="2020-12-22T10:25:38.217" v="5237" actId="20577"/>
        <pc:sldMkLst>
          <pc:docMk/>
          <pc:sldMk cId="3446498937" sldId="309"/>
        </pc:sldMkLst>
        <pc:spChg chg="del">
          <ac:chgData name="Malin Andersen" userId="67895919-1e14-47ad-aa24-7fe5f76b678e" providerId="ADAL" clId="{5DCD4660-5E0B-4218-8F86-E95870D147F1}" dt="2020-12-11T08:22:06.145" v="1745"/>
          <ac:spMkLst>
            <pc:docMk/>
            <pc:sldMk cId="3446498937" sldId="309"/>
            <ac:spMk id="2" creationId="{A6594B21-271B-47ED-90B0-62E618C86739}"/>
          </ac:spMkLst>
        </pc:spChg>
        <pc:spChg chg="del">
          <ac:chgData name="Malin Andersen" userId="67895919-1e14-47ad-aa24-7fe5f76b678e" providerId="ADAL" clId="{5DCD4660-5E0B-4218-8F86-E95870D147F1}" dt="2020-12-11T08:22:06.145" v="1745"/>
          <ac:spMkLst>
            <pc:docMk/>
            <pc:sldMk cId="3446498937" sldId="309"/>
            <ac:spMk id="3" creationId="{A0594E05-D4E5-48EE-AF6C-572FDF46FCA6}"/>
          </ac:spMkLst>
        </pc:spChg>
        <pc:spChg chg="add mod">
          <ac:chgData name="Malin Andersen" userId="67895919-1e14-47ad-aa24-7fe5f76b678e" providerId="ADAL" clId="{5DCD4660-5E0B-4218-8F86-E95870D147F1}" dt="2020-12-11T08:23:55.996" v="1764" actId="255"/>
          <ac:spMkLst>
            <pc:docMk/>
            <pc:sldMk cId="3446498937" sldId="309"/>
            <ac:spMk id="4" creationId="{C59B76D8-771E-421C-8919-7A8B0AB08D3B}"/>
          </ac:spMkLst>
        </pc:spChg>
        <pc:spChg chg="add del mod">
          <ac:chgData name="Malin Andersen" userId="67895919-1e14-47ad-aa24-7fe5f76b678e" providerId="ADAL" clId="{5DCD4660-5E0B-4218-8F86-E95870D147F1}" dt="2020-12-11T08:22:39.239" v="1746" actId="931"/>
          <ac:spMkLst>
            <pc:docMk/>
            <pc:sldMk cId="3446498937" sldId="309"/>
            <ac:spMk id="5" creationId="{668E76F9-9643-4D81-8921-E679A147CBD6}"/>
          </ac:spMkLst>
        </pc:spChg>
        <pc:picChg chg="add mod ord">
          <ac:chgData name="Malin Andersen" userId="67895919-1e14-47ad-aa24-7fe5f76b678e" providerId="ADAL" clId="{5DCD4660-5E0B-4218-8F86-E95870D147F1}" dt="2020-12-15T21:25:43.335" v="4142" actId="962"/>
          <ac:picMkLst>
            <pc:docMk/>
            <pc:sldMk cId="3446498937" sldId="309"/>
            <ac:picMk id="7" creationId="{25E03F56-2C5E-40E4-A626-1DE1742053E7}"/>
          </ac:picMkLst>
        </pc:picChg>
      </pc:sldChg>
      <pc:sldChg chg="addSp delSp modSp add modNotesTx">
        <pc:chgData name="Malin Andersen" userId="67895919-1e14-47ad-aa24-7fe5f76b678e" providerId="ADAL" clId="{5DCD4660-5E0B-4218-8F86-E95870D147F1}" dt="2020-12-22T12:55:54.850" v="5263" actId="20577"/>
        <pc:sldMkLst>
          <pc:docMk/>
          <pc:sldMk cId="1005697514" sldId="310"/>
        </pc:sldMkLst>
        <pc:spChg chg="del">
          <ac:chgData name="Malin Andersen" userId="67895919-1e14-47ad-aa24-7fe5f76b678e" providerId="ADAL" clId="{5DCD4660-5E0B-4218-8F86-E95870D147F1}" dt="2020-12-11T09:17:53.235" v="1970"/>
          <ac:spMkLst>
            <pc:docMk/>
            <pc:sldMk cId="1005697514" sldId="310"/>
            <ac:spMk id="2" creationId="{89D5814D-0826-40E8-A6AB-2E0D69312B8B}"/>
          </ac:spMkLst>
        </pc:spChg>
        <pc:spChg chg="del">
          <ac:chgData name="Malin Andersen" userId="67895919-1e14-47ad-aa24-7fe5f76b678e" providerId="ADAL" clId="{5DCD4660-5E0B-4218-8F86-E95870D147F1}" dt="2020-12-11T09:17:53.235" v="1970"/>
          <ac:spMkLst>
            <pc:docMk/>
            <pc:sldMk cId="1005697514" sldId="310"/>
            <ac:spMk id="3" creationId="{D841BFAC-99E5-45F7-B5CA-E32928EB6AEA}"/>
          </ac:spMkLst>
        </pc:spChg>
        <pc:spChg chg="add mod">
          <ac:chgData name="Malin Andersen" userId="67895919-1e14-47ad-aa24-7fe5f76b678e" providerId="ADAL" clId="{5DCD4660-5E0B-4218-8F86-E95870D147F1}" dt="2020-12-11T10:12:19.928" v="2008" actId="1035"/>
          <ac:spMkLst>
            <pc:docMk/>
            <pc:sldMk cId="1005697514" sldId="310"/>
            <ac:spMk id="4" creationId="{40C51948-F89C-4CF4-96C7-F3895CA4C983}"/>
          </ac:spMkLst>
        </pc:spChg>
        <pc:spChg chg="add del mod">
          <ac:chgData name="Malin Andersen" userId="67895919-1e14-47ad-aa24-7fe5f76b678e" providerId="ADAL" clId="{5DCD4660-5E0B-4218-8F86-E95870D147F1}" dt="2020-12-11T09:18:06.491" v="1971" actId="931"/>
          <ac:spMkLst>
            <pc:docMk/>
            <pc:sldMk cId="1005697514" sldId="310"/>
            <ac:spMk id="5" creationId="{2AF5A290-33D5-4189-8473-CAAFB2BF78CB}"/>
          </ac:spMkLst>
        </pc:spChg>
        <pc:picChg chg="add mod">
          <ac:chgData name="Malin Andersen" userId="67895919-1e14-47ad-aa24-7fe5f76b678e" providerId="ADAL" clId="{5DCD4660-5E0B-4218-8F86-E95870D147F1}" dt="2020-12-11T10:24:49.727" v="2015" actId="962"/>
          <ac:picMkLst>
            <pc:docMk/>
            <pc:sldMk cId="1005697514" sldId="310"/>
            <ac:picMk id="7" creationId="{1F6C43BF-8BE8-4B85-B955-B7CB97EE1402}"/>
          </ac:picMkLst>
        </pc:picChg>
      </pc:sldChg>
      <pc:sldChg chg="addSp delSp modSp add modNotes modNotesTx">
        <pc:chgData name="Malin Andersen" userId="67895919-1e14-47ad-aa24-7fe5f76b678e" providerId="ADAL" clId="{5DCD4660-5E0B-4218-8F86-E95870D147F1}" dt="2020-12-22T16:19:42.126" v="5551"/>
        <pc:sldMkLst>
          <pc:docMk/>
          <pc:sldMk cId="3313979332" sldId="311"/>
        </pc:sldMkLst>
        <pc:spChg chg="del">
          <ac:chgData name="Malin Andersen" userId="67895919-1e14-47ad-aa24-7fe5f76b678e" providerId="ADAL" clId="{5DCD4660-5E0B-4218-8F86-E95870D147F1}" dt="2020-12-11T18:32:24.379" v="2054" actId="931"/>
          <ac:spMkLst>
            <pc:docMk/>
            <pc:sldMk cId="3313979332" sldId="311"/>
            <ac:spMk id="2" creationId="{8D355D2E-53D6-43C8-89AB-FB50D50BF063}"/>
          </ac:spMkLst>
        </pc:spChg>
        <pc:spChg chg="mod">
          <ac:chgData name="Malin Andersen" userId="67895919-1e14-47ad-aa24-7fe5f76b678e" providerId="ADAL" clId="{5DCD4660-5E0B-4218-8F86-E95870D147F1}" dt="2020-12-22T16:19:42.126" v="5551"/>
          <ac:spMkLst>
            <pc:docMk/>
            <pc:sldMk cId="3313979332" sldId="311"/>
            <ac:spMk id="3" creationId="{198ABD0E-5165-4BAC-8116-0864D53E86A7}"/>
          </ac:spMkLst>
        </pc:spChg>
        <pc:picChg chg="add mod">
          <ac:chgData name="Malin Andersen" userId="67895919-1e14-47ad-aa24-7fe5f76b678e" providerId="ADAL" clId="{5DCD4660-5E0B-4218-8F86-E95870D147F1}" dt="2020-12-11T18:32:56.851" v="2158" actId="962"/>
          <ac:picMkLst>
            <pc:docMk/>
            <pc:sldMk cId="3313979332" sldId="311"/>
            <ac:picMk id="5" creationId="{2A754FDB-5EB4-4ADB-BFE3-B699A6C8219D}"/>
          </ac:picMkLst>
        </pc:picChg>
      </pc:sldChg>
      <pc:sldChg chg="addSp delSp modSp add modNotes modNotesTx">
        <pc:chgData name="Malin Andersen" userId="67895919-1e14-47ad-aa24-7fe5f76b678e" providerId="ADAL" clId="{5DCD4660-5E0B-4218-8F86-E95870D147F1}" dt="2021-01-07T07:51:11.202" v="5710" actId="27636"/>
        <pc:sldMkLst>
          <pc:docMk/>
          <pc:sldMk cId="3266248139" sldId="312"/>
        </pc:sldMkLst>
        <pc:spChg chg="del">
          <ac:chgData name="Malin Andersen" userId="67895919-1e14-47ad-aa24-7fe5f76b678e" providerId="ADAL" clId="{5DCD4660-5E0B-4218-8F86-E95870D147F1}" dt="2020-12-11T20:21:59.187" v="2320" actId="931"/>
          <ac:spMkLst>
            <pc:docMk/>
            <pc:sldMk cId="3266248139" sldId="312"/>
            <ac:spMk id="2" creationId="{AAAF2097-2E2B-490D-BF2F-30CDEDEB0639}"/>
          </ac:spMkLst>
        </pc:spChg>
        <pc:spChg chg="mod">
          <ac:chgData name="Malin Andersen" userId="67895919-1e14-47ad-aa24-7fe5f76b678e" providerId="ADAL" clId="{5DCD4660-5E0B-4218-8F86-E95870D147F1}" dt="2020-12-22T16:19:48.281" v="5553"/>
          <ac:spMkLst>
            <pc:docMk/>
            <pc:sldMk cId="3266248139" sldId="312"/>
            <ac:spMk id="3" creationId="{762652FF-C765-4098-8B17-5F4F0CE83267}"/>
          </ac:spMkLst>
        </pc:spChg>
        <pc:picChg chg="add mod">
          <ac:chgData name="Malin Andersen" userId="67895919-1e14-47ad-aa24-7fe5f76b678e" providerId="ADAL" clId="{5DCD4660-5E0B-4218-8F86-E95870D147F1}" dt="2020-12-11T20:23:30.662" v="2434" actId="962"/>
          <ac:picMkLst>
            <pc:docMk/>
            <pc:sldMk cId="3266248139" sldId="312"/>
            <ac:picMk id="5" creationId="{690C24A0-BD0A-452D-8F5D-E1F4761AC848}"/>
          </ac:picMkLst>
        </pc:picChg>
      </pc:sldChg>
      <pc:sldChg chg="addSp delSp modSp add modNotes modNotesTx">
        <pc:chgData name="Malin Andersen" userId="67895919-1e14-47ad-aa24-7fe5f76b678e" providerId="ADAL" clId="{5DCD4660-5E0B-4218-8F86-E95870D147F1}" dt="2020-12-22T16:19:45.197" v="5552"/>
        <pc:sldMkLst>
          <pc:docMk/>
          <pc:sldMk cId="1045327490" sldId="313"/>
        </pc:sldMkLst>
        <pc:spChg chg="del">
          <ac:chgData name="Malin Andersen" userId="67895919-1e14-47ad-aa24-7fe5f76b678e" providerId="ADAL" clId="{5DCD4660-5E0B-4218-8F86-E95870D147F1}" dt="2020-12-11T20:16:26.655" v="2217" actId="931"/>
          <ac:spMkLst>
            <pc:docMk/>
            <pc:sldMk cId="1045327490" sldId="313"/>
            <ac:spMk id="2" creationId="{BACD9100-CF56-4ADF-9F7E-033E9F19DB48}"/>
          </ac:spMkLst>
        </pc:spChg>
        <pc:spChg chg="mod">
          <ac:chgData name="Malin Andersen" userId="67895919-1e14-47ad-aa24-7fe5f76b678e" providerId="ADAL" clId="{5DCD4660-5E0B-4218-8F86-E95870D147F1}" dt="2020-12-22T16:19:45.197" v="5552"/>
          <ac:spMkLst>
            <pc:docMk/>
            <pc:sldMk cId="1045327490" sldId="313"/>
            <ac:spMk id="3" creationId="{ECB4A004-AE1A-4FB2-BFFA-C0C197343F80}"/>
          </ac:spMkLst>
        </pc:spChg>
        <pc:picChg chg="add mod">
          <ac:chgData name="Malin Andersen" userId="67895919-1e14-47ad-aa24-7fe5f76b678e" providerId="ADAL" clId="{5DCD4660-5E0B-4218-8F86-E95870D147F1}" dt="2020-12-11T20:16:35.323" v="2283" actId="962"/>
          <ac:picMkLst>
            <pc:docMk/>
            <pc:sldMk cId="1045327490" sldId="313"/>
            <ac:picMk id="5" creationId="{939ABD25-D6CE-4595-BCB4-65A671C5F4A7}"/>
          </ac:picMkLst>
        </pc:picChg>
      </pc:sldChg>
      <pc:sldChg chg="addSp delSp modSp add modNotesTx">
        <pc:chgData name="Malin Andersen" userId="67895919-1e14-47ad-aa24-7fe5f76b678e" providerId="ADAL" clId="{5DCD4660-5E0B-4218-8F86-E95870D147F1}" dt="2020-12-22T12:58:01.956" v="5269" actId="113"/>
        <pc:sldMkLst>
          <pc:docMk/>
          <pc:sldMk cId="351484033" sldId="314"/>
        </pc:sldMkLst>
        <pc:spChg chg="del">
          <ac:chgData name="Malin Andersen" userId="67895919-1e14-47ad-aa24-7fe5f76b678e" providerId="ADAL" clId="{5DCD4660-5E0B-4218-8F86-E95870D147F1}" dt="2020-12-11T10:25:09.279" v="2016"/>
          <ac:spMkLst>
            <pc:docMk/>
            <pc:sldMk cId="351484033" sldId="314"/>
            <ac:spMk id="2" creationId="{EA649A73-F7C5-4133-98CA-A944D32442D3}"/>
          </ac:spMkLst>
        </pc:spChg>
        <pc:spChg chg="del">
          <ac:chgData name="Malin Andersen" userId="67895919-1e14-47ad-aa24-7fe5f76b678e" providerId="ADAL" clId="{5DCD4660-5E0B-4218-8F86-E95870D147F1}" dt="2020-12-11T10:25:09.279" v="2016"/>
          <ac:spMkLst>
            <pc:docMk/>
            <pc:sldMk cId="351484033" sldId="314"/>
            <ac:spMk id="3" creationId="{A5D4A83F-664E-48AF-B590-E9EC3DF6D0FC}"/>
          </ac:spMkLst>
        </pc:spChg>
        <pc:spChg chg="add mod">
          <ac:chgData name="Malin Andersen" userId="67895919-1e14-47ad-aa24-7fe5f76b678e" providerId="ADAL" clId="{5DCD4660-5E0B-4218-8F86-E95870D147F1}" dt="2020-12-14T12:30:47.918" v="3262" actId="1076"/>
          <ac:spMkLst>
            <pc:docMk/>
            <pc:sldMk cId="351484033" sldId="314"/>
            <ac:spMk id="4" creationId="{BEFB6271-663C-4209-9C81-CA8D01CE90E3}"/>
          </ac:spMkLst>
        </pc:spChg>
        <pc:spChg chg="add del mod">
          <ac:chgData name="Malin Andersen" userId="67895919-1e14-47ad-aa24-7fe5f76b678e" providerId="ADAL" clId="{5DCD4660-5E0B-4218-8F86-E95870D147F1}" dt="2020-12-11T10:25:24.123" v="2017" actId="931"/>
          <ac:spMkLst>
            <pc:docMk/>
            <pc:sldMk cId="351484033" sldId="314"/>
            <ac:spMk id="5" creationId="{C54D2B5C-7EE3-446C-9F05-E5FA51E17296}"/>
          </ac:spMkLst>
        </pc:spChg>
        <pc:picChg chg="add mod">
          <ac:chgData name="Malin Andersen" userId="67895919-1e14-47ad-aa24-7fe5f76b678e" providerId="ADAL" clId="{5DCD4660-5E0B-4218-8F86-E95870D147F1}" dt="2020-12-15T21:25:23.395" v="4140" actId="962"/>
          <ac:picMkLst>
            <pc:docMk/>
            <pc:sldMk cId="351484033" sldId="314"/>
            <ac:picMk id="7" creationId="{935C60DC-603D-4968-8517-BCC0B04C15F0}"/>
          </ac:picMkLst>
        </pc:picChg>
      </pc:sldChg>
      <pc:sldChg chg="addSp delSp modSp add modNotesTx">
        <pc:chgData name="Malin Andersen" userId="67895919-1e14-47ad-aa24-7fe5f76b678e" providerId="ADAL" clId="{5DCD4660-5E0B-4218-8F86-E95870D147F1}" dt="2020-12-22T16:19:58.549" v="5556"/>
        <pc:sldMkLst>
          <pc:docMk/>
          <pc:sldMk cId="3186755437" sldId="315"/>
        </pc:sldMkLst>
        <pc:spChg chg="del">
          <ac:chgData name="Malin Andersen" userId="67895919-1e14-47ad-aa24-7fe5f76b678e" providerId="ADAL" clId="{5DCD4660-5E0B-4218-8F86-E95870D147F1}" dt="2020-12-14T12:21:46.439" v="3002" actId="931"/>
          <ac:spMkLst>
            <pc:docMk/>
            <pc:sldMk cId="3186755437" sldId="315"/>
            <ac:spMk id="2" creationId="{02A1031F-6E33-479E-B2DF-47C76C0BB823}"/>
          </ac:spMkLst>
        </pc:spChg>
        <pc:spChg chg="mod">
          <ac:chgData name="Malin Andersen" userId="67895919-1e14-47ad-aa24-7fe5f76b678e" providerId="ADAL" clId="{5DCD4660-5E0B-4218-8F86-E95870D147F1}" dt="2020-12-22T16:19:58.549" v="5556"/>
          <ac:spMkLst>
            <pc:docMk/>
            <pc:sldMk cId="3186755437" sldId="315"/>
            <ac:spMk id="3" creationId="{AA7CBD6F-68F2-4259-917F-CA88FEF20830}"/>
          </ac:spMkLst>
        </pc:spChg>
        <pc:picChg chg="add mod">
          <ac:chgData name="Malin Andersen" userId="67895919-1e14-47ad-aa24-7fe5f76b678e" providerId="ADAL" clId="{5DCD4660-5E0B-4218-8F86-E95870D147F1}" dt="2020-12-15T21:24:59.909" v="4139" actId="1076"/>
          <ac:picMkLst>
            <pc:docMk/>
            <pc:sldMk cId="3186755437" sldId="315"/>
            <ac:picMk id="5" creationId="{B12E327F-6138-4B5C-983D-3D77AB9B45CB}"/>
          </ac:picMkLst>
        </pc:picChg>
      </pc:sldChg>
      <pc:sldChg chg="addSp delSp modSp add modNotes modNotesTx">
        <pc:chgData name="Malin Andersen" userId="67895919-1e14-47ad-aa24-7fe5f76b678e" providerId="ADAL" clId="{5DCD4660-5E0B-4218-8F86-E95870D147F1}" dt="2020-12-22T16:19:51.474" v="5554"/>
        <pc:sldMkLst>
          <pc:docMk/>
          <pc:sldMk cId="968056626" sldId="316"/>
        </pc:sldMkLst>
        <pc:spChg chg="del">
          <ac:chgData name="Malin Andersen" userId="67895919-1e14-47ad-aa24-7fe5f76b678e" providerId="ADAL" clId="{5DCD4660-5E0B-4218-8F86-E95870D147F1}" dt="2020-12-11T20:24:57.032" v="2464" actId="931"/>
          <ac:spMkLst>
            <pc:docMk/>
            <pc:sldMk cId="968056626" sldId="316"/>
            <ac:spMk id="2" creationId="{F1FDE95A-1C0E-4F90-A53B-4E5F206F88E1}"/>
          </ac:spMkLst>
        </pc:spChg>
        <pc:spChg chg="mod">
          <ac:chgData name="Malin Andersen" userId="67895919-1e14-47ad-aa24-7fe5f76b678e" providerId="ADAL" clId="{5DCD4660-5E0B-4218-8F86-E95870D147F1}" dt="2020-12-22T16:19:51.474" v="5554"/>
          <ac:spMkLst>
            <pc:docMk/>
            <pc:sldMk cId="968056626" sldId="316"/>
            <ac:spMk id="3" creationId="{04937EB5-419B-4B5F-89D8-67DF6CAE2657}"/>
          </ac:spMkLst>
        </pc:spChg>
        <pc:picChg chg="add mod">
          <ac:chgData name="Malin Andersen" userId="67895919-1e14-47ad-aa24-7fe5f76b678e" providerId="ADAL" clId="{5DCD4660-5E0B-4218-8F86-E95870D147F1}" dt="2020-12-11T20:25:17.498" v="2588" actId="962"/>
          <ac:picMkLst>
            <pc:docMk/>
            <pc:sldMk cId="968056626" sldId="316"/>
            <ac:picMk id="5" creationId="{FE543C16-CAEF-4453-879C-0978682ECD6E}"/>
          </ac:picMkLst>
        </pc:picChg>
      </pc:sldChg>
      <pc:sldChg chg="addSp delSp modSp add modNotesTx">
        <pc:chgData name="Malin Andersen" userId="67895919-1e14-47ad-aa24-7fe5f76b678e" providerId="ADAL" clId="{5DCD4660-5E0B-4218-8F86-E95870D147F1}" dt="2020-12-11T20:48:42.672" v="2723" actId="12"/>
        <pc:sldMkLst>
          <pc:docMk/>
          <pc:sldMk cId="1608152977" sldId="317"/>
        </pc:sldMkLst>
        <pc:spChg chg="del">
          <ac:chgData name="Malin Andersen" userId="67895919-1e14-47ad-aa24-7fe5f76b678e" providerId="ADAL" clId="{5DCD4660-5E0B-4218-8F86-E95870D147F1}" dt="2020-12-11T20:31:49.784" v="2615"/>
          <ac:spMkLst>
            <pc:docMk/>
            <pc:sldMk cId="1608152977" sldId="317"/>
            <ac:spMk id="2" creationId="{881D4EB5-0110-4550-882C-E72ABD8E72AB}"/>
          </ac:spMkLst>
        </pc:spChg>
        <pc:spChg chg="del">
          <ac:chgData name="Malin Andersen" userId="67895919-1e14-47ad-aa24-7fe5f76b678e" providerId="ADAL" clId="{5DCD4660-5E0B-4218-8F86-E95870D147F1}" dt="2020-12-11T20:31:49.784" v="2615"/>
          <ac:spMkLst>
            <pc:docMk/>
            <pc:sldMk cId="1608152977" sldId="317"/>
            <ac:spMk id="3" creationId="{F0582A99-3A10-45D9-9DBF-573E6120C97C}"/>
          </ac:spMkLst>
        </pc:spChg>
        <pc:spChg chg="add mod">
          <ac:chgData name="Malin Andersen" userId="67895919-1e14-47ad-aa24-7fe5f76b678e" providerId="ADAL" clId="{5DCD4660-5E0B-4218-8F86-E95870D147F1}" dt="2020-12-11T20:33:33.463" v="2716" actId="20577"/>
          <ac:spMkLst>
            <pc:docMk/>
            <pc:sldMk cId="1608152977" sldId="317"/>
            <ac:spMk id="4" creationId="{9A83CFBA-76E1-43FD-BA37-CCF53989CF4E}"/>
          </ac:spMkLst>
        </pc:spChg>
        <pc:spChg chg="add del mod">
          <ac:chgData name="Malin Andersen" userId="67895919-1e14-47ad-aa24-7fe5f76b678e" providerId="ADAL" clId="{5DCD4660-5E0B-4218-8F86-E95870D147F1}" dt="2020-12-11T20:32:14.978" v="2616" actId="931"/>
          <ac:spMkLst>
            <pc:docMk/>
            <pc:sldMk cId="1608152977" sldId="317"/>
            <ac:spMk id="5" creationId="{CBDDE916-BFAB-4F8E-8B61-238EAC367739}"/>
          </ac:spMkLst>
        </pc:spChg>
        <pc:picChg chg="add mod modCrop">
          <ac:chgData name="Malin Andersen" userId="67895919-1e14-47ad-aa24-7fe5f76b678e" providerId="ADAL" clId="{5DCD4660-5E0B-4218-8F86-E95870D147F1}" dt="2020-12-11T20:34:31.453" v="2719" actId="18131"/>
          <ac:picMkLst>
            <pc:docMk/>
            <pc:sldMk cId="1608152977" sldId="317"/>
            <ac:picMk id="7" creationId="{FFECBAB1-8C2E-471B-AE80-8D2C2B331EDA}"/>
          </ac:picMkLst>
        </pc:picChg>
      </pc:sldChg>
      <pc:sldChg chg="addSp delSp modSp add modNotesTx">
        <pc:chgData name="Malin Andersen" userId="67895919-1e14-47ad-aa24-7fe5f76b678e" providerId="ADAL" clId="{5DCD4660-5E0B-4218-8F86-E95870D147F1}" dt="2020-12-22T16:19:55.105" v="5555"/>
        <pc:sldMkLst>
          <pc:docMk/>
          <pc:sldMk cId="4094060261" sldId="318"/>
        </pc:sldMkLst>
        <pc:spChg chg="del">
          <ac:chgData name="Malin Andersen" userId="67895919-1e14-47ad-aa24-7fe5f76b678e" providerId="ADAL" clId="{5DCD4660-5E0B-4218-8F86-E95870D147F1}" dt="2020-12-14T12:20:08.499" v="2865" actId="931"/>
          <ac:spMkLst>
            <pc:docMk/>
            <pc:sldMk cId="4094060261" sldId="318"/>
            <ac:spMk id="2" creationId="{686A6D33-AEEC-45FB-811C-F716735A3500}"/>
          </ac:spMkLst>
        </pc:spChg>
        <pc:spChg chg="mod">
          <ac:chgData name="Malin Andersen" userId="67895919-1e14-47ad-aa24-7fe5f76b678e" providerId="ADAL" clId="{5DCD4660-5E0B-4218-8F86-E95870D147F1}" dt="2020-12-22T16:19:55.105" v="5555"/>
          <ac:spMkLst>
            <pc:docMk/>
            <pc:sldMk cId="4094060261" sldId="318"/>
            <ac:spMk id="3" creationId="{BF561F4A-3355-4ED9-8B00-478A5C9A57CF}"/>
          </ac:spMkLst>
        </pc:spChg>
        <pc:picChg chg="add mod">
          <ac:chgData name="Malin Andersen" userId="67895919-1e14-47ad-aa24-7fe5f76b678e" providerId="ADAL" clId="{5DCD4660-5E0B-4218-8F86-E95870D147F1}" dt="2020-12-14T12:20:28.490" v="2973" actId="962"/>
          <ac:picMkLst>
            <pc:docMk/>
            <pc:sldMk cId="4094060261" sldId="318"/>
            <ac:picMk id="5" creationId="{1AAA01E0-4597-4E99-A30A-6553D47D4396}"/>
          </ac:picMkLst>
        </pc:picChg>
      </pc:sldChg>
      <pc:sldChg chg="addSp delSp modSp add modNotesTx">
        <pc:chgData name="Malin Andersen" userId="67895919-1e14-47ad-aa24-7fe5f76b678e" providerId="ADAL" clId="{5DCD4660-5E0B-4218-8F86-E95870D147F1}" dt="2020-12-22T16:19:38.827" v="5550"/>
        <pc:sldMkLst>
          <pc:docMk/>
          <pc:sldMk cId="103214833" sldId="319"/>
        </pc:sldMkLst>
        <pc:spChg chg="del">
          <ac:chgData name="Malin Andersen" userId="67895919-1e14-47ad-aa24-7fe5f76b678e" providerId="ADAL" clId="{5DCD4660-5E0B-4218-8F86-E95870D147F1}" dt="2020-12-14T12:18:17.974" v="2744" actId="931"/>
          <ac:spMkLst>
            <pc:docMk/>
            <pc:sldMk cId="103214833" sldId="319"/>
            <ac:spMk id="2" creationId="{1DC4887E-051A-4408-A2B9-ADE980266D46}"/>
          </ac:spMkLst>
        </pc:spChg>
        <pc:spChg chg="mod">
          <ac:chgData name="Malin Andersen" userId="67895919-1e14-47ad-aa24-7fe5f76b678e" providerId="ADAL" clId="{5DCD4660-5E0B-4218-8F86-E95870D147F1}" dt="2020-12-22T16:19:38.827" v="5550"/>
          <ac:spMkLst>
            <pc:docMk/>
            <pc:sldMk cId="103214833" sldId="319"/>
            <ac:spMk id="3" creationId="{CCC4E02B-1C2F-4C6C-9198-4339CD68A910}"/>
          </ac:spMkLst>
        </pc:spChg>
        <pc:picChg chg="add mod">
          <ac:chgData name="Malin Andersen" userId="67895919-1e14-47ad-aa24-7fe5f76b678e" providerId="ADAL" clId="{5DCD4660-5E0B-4218-8F86-E95870D147F1}" dt="2020-12-15T21:25:56.301" v="4144" actId="1076"/>
          <ac:picMkLst>
            <pc:docMk/>
            <pc:sldMk cId="103214833" sldId="319"/>
            <ac:picMk id="5" creationId="{FEA954EC-256F-46D2-A349-7158F066C1F0}"/>
          </ac:picMkLst>
        </pc:picChg>
      </pc:sldChg>
      <pc:sldChg chg="addSp delSp modSp add modNotes modNotesTx">
        <pc:chgData name="Malin Andersen" userId="67895919-1e14-47ad-aa24-7fe5f76b678e" providerId="ADAL" clId="{5DCD4660-5E0B-4218-8F86-E95870D147F1}" dt="2020-12-22T16:20:37.929" v="5559"/>
        <pc:sldMkLst>
          <pc:docMk/>
          <pc:sldMk cId="1451006646" sldId="320"/>
        </pc:sldMkLst>
        <pc:spChg chg="del">
          <ac:chgData name="Malin Andersen" userId="67895919-1e14-47ad-aa24-7fe5f76b678e" providerId="ADAL" clId="{5DCD4660-5E0B-4218-8F86-E95870D147F1}" dt="2020-12-14T12:32:04.202" v="3286" actId="931"/>
          <ac:spMkLst>
            <pc:docMk/>
            <pc:sldMk cId="1451006646" sldId="320"/>
            <ac:spMk id="2" creationId="{02A1031F-6E33-479E-B2DF-47C76C0BB823}"/>
          </ac:spMkLst>
        </pc:spChg>
        <pc:spChg chg="mod">
          <ac:chgData name="Malin Andersen" userId="67895919-1e14-47ad-aa24-7fe5f76b678e" providerId="ADAL" clId="{5DCD4660-5E0B-4218-8F86-E95870D147F1}" dt="2020-12-22T16:20:37.929" v="5559"/>
          <ac:spMkLst>
            <pc:docMk/>
            <pc:sldMk cId="1451006646" sldId="320"/>
            <ac:spMk id="3" creationId="{AA7CBD6F-68F2-4259-917F-CA88FEF20830}"/>
          </ac:spMkLst>
        </pc:spChg>
        <pc:picChg chg="add mod">
          <ac:chgData name="Malin Andersen" userId="67895919-1e14-47ad-aa24-7fe5f76b678e" providerId="ADAL" clId="{5DCD4660-5E0B-4218-8F86-E95870D147F1}" dt="2020-12-15T21:24:12.477" v="4135" actId="1076"/>
          <ac:picMkLst>
            <pc:docMk/>
            <pc:sldMk cId="1451006646" sldId="320"/>
            <ac:picMk id="5" creationId="{520BFA94-2EBA-477D-9781-EBF694E13B85}"/>
          </ac:picMkLst>
        </pc:picChg>
      </pc:sldChg>
      <pc:sldChg chg="addSp delSp modSp add ord modNotesTx">
        <pc:chgData name="Malin Andersen" userId="67895919-1e14-47ad-aa24-7fe5f76b678e" providerId="ADAL" clId="{5DCD4660-5E0B-4218-8F86-E95870D147F1}" dt="2020-12-15T21:24:27.013" v="4136" actId="962"/>
        <pc:sldMkLst>
          <pc:docMk/>
          <pc:sldMk cId="2476016338" sldId="321"/>
        </pc:sldMkLst>
        <pc:spChg chg="del">
          <ac:chgData name="Malin Andersen" userId="67895919-1e14-47ad-aa24-7fe5f76b678e" providerId="ADAL" clId="{5DCD4660-5E0B-4218-8F86-E95870D147F1}" dt="2020-12-14T12:28:16.174" v="3220"/>
          <ac:spMkLst>
            <pc:docMk/>
            <pc:sldMk cId="2476016338" sldId="321"/>
            <ac:spMk id="2" creationId="{02A1031F-6E33-479E-B2DF-47C76C0BB823}"/>
          </ac:spMkLst>
        </pc:spChg>
        <pc:spChg chg="del">
          <ac:chgData name="Malin Andersen" userId="67895919-1e14-47ad-aa24-7fe5f76b678e" providerId="ADAL" clId="{5DCD4660-5E0B-4218-8F86-E95870D147F1}" dt="2020-12-14T12:28:16.174" v="3220"/>
          <ac:spMkLst>
            <pc:docMk/>
            <pc:sldMk cId="2476016338" sldId="321"/>
            <ac:spMk id="3" creationId="{AA7CBD6F-68F2-4259-917F-CA88FEF20830}"/>
          </ac:spMkLst>
        </pc:spChg>
        <pc:spChg chg="add mod">
          <ac:chgData name="Malin Andersen" userId="67895919-1e14-47ad-aa24-7fe5f76b678e" providerId="ADAL" clId="{5DCD4660-5E0B-4218-8F86-E95870D147F1}" dt="2020-12-14T12:30:29.922" v="3261" actId="1076"/>
          <ac:spMkLst>
            <pc:docMk/>
            <pc:sldMk cId="2476016338" sldId="321"/>
            <ac:spMk id="4" creationId="{C512F1EB-A363-404C-A2A3-EBF095837525}"/>
          </ac:spMkLst>
        </pc:spChg>
        <pc:spChg chg="add del mod">
          <ac:chgData name="Malin Andersen" userId="67895919-1e14-47ad-aa24-7fe5f76b678e" providerId="ADAL" clId="{5DCD4660-5E0B-4218-8F86-E95870D147F1}" dt="2020-12-14T12:28:23.859" v="3221" actId="931"/>
          <ac:spMkLst>
            <pc:docMk/>
            <pc:sldMk cId="2476016338" sldId="321"/>
            <ac:spMk id="5" creationId="{163CDA44-D67F-4AF4-8105-32B57A7093E4}"/>
          </ac:spMkLst>
        </pc:spChg>
        <pc:picChg chg="add mod">
          <ac:chgData name="Malin Andersen" userId="67895919-1e14-47ad-aa24-7fe5f76b678e" providerId="ADAL" clId="{5DCD4660-5E0B-4218-8F86-E95870D147F1}" dt="2020-12-15T21:24:27.013" v="4136" actId="962"/>
          <ac:picMkLst>
            <pc:docMk/>
            <pc:sldMk cId="2476016338" sldId="321"/>
            <ac:picMk id="7" creationId="{0A8B10FE-D390-4276-BFC9-4ED7F867375F}"/>
          </ac:picMkLst>
        </pc:picChg>
      </pc:sldChg>
      <pc:sldChg chg="modSp add">
        <pc:chgData name="Malin Andersen" userId="67895919-1e14-47ad-aa24-7fe5f76b678e" providerId="ADAL" clId="{5DCD4660-5E0B-4218-8F86-E95870D147F1}" dt="2020-12-22T16:20:04.403" v="5558"/>
        <pc:sldMkLst>
          <pc:docMk/>
          <pc:sldMk cId="886173640" sldId="322"/>
        </pc:sldMkLst>
        <pc:spChg chg="mod">
          <ac:chgData name="Malin Andersen" userId="67895919-1e14-47ad-aa24-7fe5f76b678e" providerId="ADAL" clId="{5DCD4660-5E0B-4218-8F86-E95870D147F1}" dt="2020-12-22T16:20:04.403" v="5558"/>
          <ac:spMkLst>
            <pc:docMk/>
            <pc:sldMk cId="886173640" sldId="322"/>
            <ac:spMk id="3" creationId="{AA7CBD6F-68F2-4259-917F-CA88FEF20830}"/>
          </ac:spMkLst>
        </pc:spChg>
      </pc:sldChg>
      <pc:sldChg chg="addSp delSp modSp add modNotes modNotesTx">
        <pc:chgData name="Malin Andersen" userId="67895919-1e14-47ad-aa24-7fe5f76b678e" providerId="ADAL" clId="{5DCD4660-5E0B-4218-8F86-E95870D147F1}" dt="2020-12-22T16:20:01.511" v="5557"/>
        <pc:sldMkLst>
          <pc:docMk/>
          <pc:sldMk cId="2276116555" sldId="323"/>
        </pc:sldMkLst>
        <pc:spChg chg="del">
          <ac:chgData name="Malin Andersen" userId="67895919-1e14-47ad-aa24-7fe5f76b678e" providerId="ADAL" clId="{5DCD4660-5E0B-4218-8F86-E95870D147F1}" dt="2020-12-14T12:23:09.675" v="3084" actId="931"/>
          <ac:spMkLst>
            <pc:docMk/>
            <pc:sldMk cId="2276116555" sldId="323"/>
            <ac:spMk id="2" creationId="{02A1031F-6E33-479E-B2DF-47C76C0BB823}"/>
          </ac:spMkLst>
        </pc:spChg>
        <pc:spChg chg="mod">
          <ac:chgData name="Malin Andersen" userId="67895919-1e14-47ad-aa24-7fe5f76b678e" providerId="ADAL" clId="{5DCD4660-5E0B-4218-8F86-E95870D147F1}" dt="2020-12-22T16:20:01.511" v="5557"/>
          <ac:spMkLst>
            <pc:docMk/>
            <pc:sldMk cId="2276116555" sldId="323"/>
            <ac:spMk id="3" creationId="{AA7CBD6F-68F2-4259-917F-CA88FEF20830}"/>
          </ac:spMkLst>
        </pc:spChg>
        <pc:picChg chg="add mod">
          <ac:chgData name="Malin Andersen" userId="67895919-1e14-47ad-aa24-7fe5f76b678e" providerId="ADAL" clId="{5DCD4660-5E0B-4218-8F86-E95870D147F1}" dt="2020-12-14T12:23:23.281" v="3192" actId="962"/>
          <ac:picMkLst>
            <pc:docMk/>
            <pc:sldMk cId="2276116555" sldId="323"/>
            <ac:picMk id="5" creationId="{DE2947ED-895C-441E-9992-3843573E97A1}"/>
          </ac:picMkLst>
        </pc:picChg>
      </pc:sldChg>
      <pc:sldChg chg="modSp add ord">
        <pc:chgData name="Malin Andersen" userId="67895919-1e14-47ad-aa24-7fe5f76b678e" providerId="ADAL" clId="{5DCD4660-5E0B-4218-8F86-E95870D147F1}" dt="2020-12-15T21:24:39.762" v="4137" actId="962"/>
        <pc:sldMkLst>
          <pc:docMk/>
          <pc:sldMk cId="3251743826" sldId="324"/>
        </pc:sldMkLst>
        <pc:spChg chg="mod">
          <ac:chgData name="Malin Andersen" userId="67895919-1e14-47ad-aa24-7fe5f76b678e" providerId="ADAL" clId="{5DCD4660-5E0B-4218-8F86-E95870D147F1}" dt="2020-12-14T12:27:40.029" v="3219" actId="20577"/>
          <ac:spMkLst>
            <pc:docMk/>
            <pc:sldMk cId="3251743826" sldId="324"/>
            <ac:spMk id="3" creationId="{86F3C8A3-F06A-4186-8103-1CEC5803AB35}"/>
          </ac:spMkLst>
        </pc:spChg>
        <pc:picChg chg="mod">
          <ac:chgData name="Malin Andersen" userId="67895919-1e14-47ad-aa24-7fe5f76b678e" providerId="ADAL" clId="{5DCD4660-5E0B-4218-8F86-E95870D147F1}" dt="2020-12-15T21:24:39.762" v="4137" actId="962"/>
          <ac:picMkLst>
            <pc:docMk/>
            <pc:sldMk cId="3251743826" sldId="324"/>
            <ac:picMk id="5" creationId="{C8ABED0A-C561-4BDB-8CBA-736632F12AFC}"/>
          </ac:picMkLst>
        </pc:picChg>
      </pc:sldChg>
      <pc:sldChg chg="addSp delSp modSp add modNotes modNotesTx">
        <pc:chgData name="Malin Andersen" userId="67895919-1e14-47ad-aa24-7fe5f76b678e" providerId="ADAL" clId="{5DCD4660-5E0B-4218-8F86-E95870D147F1}" dt="2020-12-22T16:20:50.848" v="5562"/>
        <pc:sldMkLst>
          <pc:docMk/>
          <pc:sldMk cId="1265835130" sldId="325"/>
        </pc:sldMkLst>
        <pc:spChg chg="del">
          <ac:chgData name="Malin Andersen" userId="67895919-1e14-47ad-aa24-7fe5f76b678e" providerId="ADAL" clId="{5DCD4660-5E0B-4218-8F86-E95870D147F1}" dt="2020-12-14T12:37:51.231" v="3553" actId="931"/>
          <ac:spMkLst>
            <pc:docMk/>
            <pc:sldMk cId="1265835130" sldId="325"/>
            <ac:spMk id="2" creationId="{02A1031F-6E33-479E-B2DF-47C76C0BB823}"/>
          </ac:spMkLst>
        </pc:spChg>
        <pc:spChg chg="mod">
          <ac:chgData name="Malin Andersen" userId="67895919-1e14-47ad-aa24-7fe5f76b678e" providerId="ADAL" clId="{5DCD4660-5E0B-4218-8F86-E95870D147F1}" dt="2020-12-22T16:20:50.848" v="5562"/>
          <ac:spMkLst>
            <pc:docMk/>
            <pc:sldMk cId="1265835130" sldId="325"/>
            <ac:spMk id="3" creationId="{AA7CBD6F-68F2-4259-917F-CA88FEF20830}"/>
          </ac:spMkLst>
        </pc:spChg>
        <pc:picChg chg="add mod">
          <ac:chgData name="Malin Andersen" userId="67895919-1e14-47ad-aa24-7fe5f76b678e" providerId="ADAL" clId="{5DCD4660-5E0B-4218-8F86-E95870D147F1}" dt="2020-12-14T12:38:25.518" v="3659" actId="1076"/>
          <ac:picMkLst>
            <pc:docMk/>
            <pc:sldMk cId="1265835130" sldId="325"/>
            <ac:picMk id="5" creationId="{B7056352-4C45-441F-92EA-F67891BAF125}"/>
          </ac:picMkLst>
        </pc:picChg>
      </pc:sldChg>
      <pc:sldChg chg="addSp delSp modSp add modNotes modNotesTx">
        <pc:chgData name="Malin Andersen" userId="67895919-1e14-47ad-aa24-7fe5f76b678e" providerId="ADAL" clId="{5DCD4660-5E0B-4218-8F86-E95870D147F1}" dt="2020-12-22T16:20:45.733" v="5561"/>
        <pc:sldMkLst>
          <pc:docMk/>
          <pc:sldMk cId="15792239" sldId="326"/>
        </pc:sldMkLst>
        <pc:spChg chg="del">
          <ac:chgData name="Malin Andersen" userId="67895919-1e14-47ad-aa24-7fe5f76b678e" providerId="ADAL" clId="{5DCD4660-5E0B-4218-8F86-E95870D147F1}" dt="2020-12-14T12:35:52.750" v="3457" actId="931"/>
          <ac:spMkLst>
            <pc:docMk/>
            <pc:sldMk cId="15792239" sldId="326"/>
            <ac:spMk id="2" creationId="{02A1031F-6E33-479E-B2DF-47C76C0BB823}"/>
          </ac:spMkLst>
        </pc:spChg>
        <pc:spChg chg="mod">
          <ac:chgData name="Malin Andersen" userId="67895919-1e14-47ad-aa24-7fe5f76b678e" providerId="ADAL" clId="{5DCD4660-5E0B-4218-8F86-E95870D147F1}" dt="2020-12-22T16:20:45.733" v="5561"/>
          <ac:spMkLst>
            <pc:docMk/>
            <pc:sldMk cId="15792239" sldId="326"/>
            <ac:spMk id="3" creationId="{AA7CBD6F-68F2-4259-917F-CA88FEF20830}"/>
          </ac:spMkLst>
        </pc:spChg>
        <pc:picChg chg="add mod">
          <ac:chgData name="Malin Andersen" userId="67895919-1e14-47ad-aa24-7fe5f76b678e" providerId="ADAL" clId="{5DCD4660-5E0B-4218-8F86-E95870D147F1}" dt="2020-12-15T21:23:59.824" v="4133" actId="1076"/>
          <ac:picMkLst>
            <pc:docMk/>
            <pc:sldMk cId="15792239" sldId="326"/>
            <ac:picMk id="5" creationId="{1FC3E5E3-995A-443D-9788-A25541ACE548}"/>
          </ac:picMkLst>
        </pc:picChg>
      </pc:sldChg>
      <pc:sldChg chg="addSp delSp modSp add modNotesTx">
        <pc:chgData name="Malin Andersen" userId="67895919-1e14-47ad-aa24-7fe5f76b678e" providerId="ADAL" clId="{5DCD4660-5E0B-4218-8F86-E95870D147F1}" dt="2020-12-22T16:20:40.512" v="5560"/>
        <pc:sldMkLst>
          <pc:docMk/>
          <pc:sldMk cId="4159285341" sldId="327"/>
        </pc:sldMkLst>
        <pc:spChg chg="del">
          <ac:chgData name="Malin Andersen" userId="67895919-1e14-47ad-aa24-7fe5f76b678e" providerId="ADAL" clId="{5DCD4660-5E0B-4218-8F86-E95870D147F1}" dt="2020-12-14T12:33:48.296" v="3367" actId="931"/>
          <ac:spMkLst>
            <pc:docMk/>
            <pc:sldMk cId="4159285341" sldId="327"/>
            <ac:spMk id="2" creationId="{02A1031F-6E33-479E-B2DF-47C76C0BB823}"/>
          </ac:spMkLst>
        </pc:spChg>
        <pc:spChg chg="mod">
          <ac:chgData name="Malin Andersen" userId="67895919-1e14-47ad-aa24-7fe5f76b678e" providerId="ADAL" clId="{5DCD4660-5E0B-4218-8F86-E95870D147F1}" dt="2020-12-22T16:20:40.512" v="5560"/>
          <ac:spMkLst>
            <pc:docMk/>
            <pc:sldMk cId="4159285341" sldId="327"/>
            <ac:spMk id="3" creationId="{AA7CBD6F-68F2-4259-917F-CA88FEF20830}"/>
          </ac:spMkLst>
        </pc:spChg>
        <pc:picChg chg="add mod">
          <ac:chgData name="Malin Andersen" userId="67895919-1e14-47ad-aa24-7fe5f76b678e" providerId="ADAL" clId="{5DCD4660-5E0B-4218-8F86-E95870D147F1}" dt="2020-12-15T21:24:07.492" v="4134" actId="1076"/>
          <ac:picMkLst>
            <pc:docMk/>
            <pc:sldMk cId="4159285341" sldId="327"/>
            <ac:picMk id="5" creationId="{9A5C9F73-5D89-4303-A93E-B9D1577E9E49}"/>
          </ac:picMkLst>
        </pc:picChg>
      </pc:sldChg>
      <pc:sldChg chg="addSp delSp modSp add modNotes modNotesTx">
        <pc:chgData name="Malin Andersen" userId="67895919-1e14-47ad-aa24-7fe5f76b678e" providerId="ADAL" clId="{5DCD4660-5E0B-4218-8F86-E95870D147F1}" dt="2020-12-14T15:20:35.377" v="3986" actId="12"/>
        <pc:sldMkLst>
          <pc:docMk/>
          <pc:sldMk cId="3181167643" sldId="328"/>
        </pc:sldMkLst>
        <pc:spChg chg="del">
          <ac:chgData name="Malin Andersen" userId="67895919-1e14-47ad-aa24-7fe5f76b678e" providerId="ADAL" clId="{5DCD4660-5E0B-4218-8F86-E95870D147F1}" dt="2020-12-14T15:16:55.027" v="3954"/>
          <ac:spMkLst>
            <pc:docMk/>
            <pc:sldMk cId="3181167643" sldId="328"/>
            <ac:spMk id="2" creationId="{02A1031F-6E33-479E-B2DF-47C76C0BB823}"/>
          </ac:spMkLst>
        </pc:spChg>
        <pc:spChg chg="del">
          <ac:chgData name="Malin Andersen" userId="67895919-1e14-47ad-aa24-7fe5f76b678e" providerId="ADAL" clId="{5DCD4660-5E0B-4218-8F86-E95870D147F1}" dt="2020-12-14T15:16:55.027" v="3954"/>
          <ac:spMkLst>
            <pc:docMk/>
            <pc:sldMk cId="3181167643" sldId="328"/>
            <ac:spMk id="3" creationId="{AA7CBD6F-68F2-4259-917F-CA88FEF20830}"/>
          </ac:spMkLst>
        </pc:spChg>
        <pc:spChg chg="add mod">
          <ac:chgData name="Malin Andersen" userId="67895919-1e14-47ad-aa24-7fe5f76b678e" providerId="ADAL" clId="{5DCD4660-5E0B-4218-8F86-E95870D147F1}" dt="2020-12-14T15:17:03.118" v="3964" actId="20577"/>
          <ac:spMkLst>
            <pc:docMk/>
            <pc:sldMk cId="3181167643" sldId="328"/>
            <ac:spMk id="4" creationId="{ECDBF844-CC92-482F-A7BD-235667964BE8}"/>
          </ac:spMkLst>
        </pc:spChg>
        <pc:spChg chg="add del mod">
          <ac:chgData name="Malin Andersen" userId="67895919-1e14-47ad-aa24-7fe5f76b678e" providerId="ADAL" clId="{5DCD4660-5E0B-4218-8F86-E95870D147F1}" dt="2020-12-14T15:18:43.775" v="3970"/>
          <ac:spMkLst>
            <pc:docMk/>
            <pc:sldMk cId="3181167643" sldId="328"/>
            <ac:spMk id="5" creationId="{BBBB973C-4CCE-4AE0-9088-E74D6088C70E}"/>
          </ac:spMkLst>
        </pc:spChg>
        <pc:picChg chg="add del mod">
          <ac:chgData name="Malin Andersen" userId="67895919-1e14-47ad-aa24-7fe5f76b678e" providerId="ADAL" clId="{5DCD4660-5E0B-4218-8F86-E95870D147F1}" dt="2020-12-14T15:18:32.211" v="3969" actId="931"/>
          <ac:picMkLst>
            <pc:docMk/>
            <pc:sldMk cId="3181167643" sldId="328"/>
            <ac:picMk id="7" creationId="{5460B5F7-A2AC-4407-87F6-2B7CDCD7C570}"/>
          </ac:picMkLst>
        </pc:picChg>
        <pc:picChg chg="add mod">
          <ac:chgData name="Malin Andersen" userId="67895919-1e14-47ad-aa24-7fe5f76b678e" providerId="ADAL" clId="{5DCD4660-5E0B-4218-8F86-E95870D147F1}" dt="2020-12-14T15:19:04.379" v="3973" actId="14100"/>
          <ac:picMkLst>
            <pc:docMk/>
            <pc:sldMk cId="3181167643" sldId="328"/>
            <ac:picMk id="8" creationId="{CD046CEF-C15F-45E6-979E-12A149D072F7}"/>
          </ac:picMkLst>
        </pc:picChg>
      </pc:sldChg>
      <pc:sldChg chg="addSp delSp modSp add modNotesTx">
        <pc:chgData name="Malin Andersen" userId="67895919-1e14-47ad-aa24-7fe5f76b678e" providerId="ADAL" clId="{5DCD4660-5E0B-4218-8F86-E95870D147F1}" dt="2020-12-14T15:12:16.599" v="3951" actId="113"/>
        <pc:sldMkLst>
          <pc:docMk/>
          <pc:sldMk cId="700524313" sldId="329"/>
        </pc:sldMkLst>
        <pc:spChg chg="del">
          <ac:chgData name="Malin Andersen" userId="67895919-1e14-47ad-aa24-7fe5f76b678e" providerId="ADAL" clId="{5DCD4660-5E0B-4218-8F86-E95870D147F1}" dt="2020-12-14T14:41:03.411" v="3805"/>
          <ac:spMkLst>
            <pc:docMk/>
            <pc:sldMk cId="700524313" sldId="329"/>
            <ac:spMk id="2" creationId="{02A1031F-6E33-479E-B2DF-47C76C0BB823}"/>
          </ac:spMkLst>
        </pc:spChg>
        <pc:spChg chg="del">
          <ac:chgData name="Malin Andersen" userId="67895919-1e14-47ad-aa24-7fe5f76b678e" providerId="ADAL" clId="{5DCD4660-5E0B-4218-8F86-E95870D147F1}" dt="2020-12-14T14:41:03.411" v="3805"/>
          <ac:spMkLst>
            <pc:docMk/>
            <pc:sldMk cId="700524313" sldId="329"/>
            <ac:spMk id="3" creationId="{AA7CBD6F-68F2-4259-917F-CA88FEF20830}"/>
          </ac:spMkLst>
        </pc:spChg>
        <pc:spChg chg="add mod">
          <ac:chgData name="Malin Andersen" userId="67895919-1e14-47ad-aa24-7fe5f76b678e" providerId="ADAL" clId="{5DCD4660-5E0B-4218-8F86-E95870D147F1}" dt="2020-12-14T14:41:08.508" v="3818" actId="20577"/>
          <ac:spMkLst>
            <pc:docMk/>
            <pc:sldMk cId="700524313" sldId="329"/>
            <ac:spMk id="4" creationId="{FFCA28E7-FB4C-4ACD-92E5-FCFC417CA2A7}"/>
          </ac:spMkLst>
        </pc:spChg>
        <pc:spChg chg="add del mod">
          <ac:chgData name="Malin Andersen" userId="67895919-1e14-47ad-aa24-7fe5f76b678e" providerId="ADAL" clId="{5DCD4660-5E0B-4218-8F86-E95870D147F1}" dt="2020-12-14T14:41:14.659" v="3819" actId="931"/>
          <ac:spMkLst>
            <pc:docMk/>
            <pc:sldMk cId="700524313" sldId="329"/>
            <ac:spMk id="5" creationId="{FEC117FA-DF94-43EE-A2B0-9EF9FDB266E4}"/>
          </ac:spMkLst>
        </pc:spChg>
        <pc:spChg chg="add del mod">
          <ac:chgData name="Malin Andersen" userId="67895919-1e14-47ad-aa24-7fe5f76b678e" providerId="ADAL" clId="{5DCD4660-5E0B-4218-8F86-E95870D147F1}" dt="2020-12-14T14:41:25.298" v="3820" actId="931"/>
          <ac:spMkLst>
            <pc:docMk/>
            <pc:sldMk cId="700524313" sldId="329"/>
            <ac:spMk id="6" creationId="{51CD488F-5201-4667-9584-8FB698C8AE68}"/>
          </ac:spMkLst>
        </pc:spChg>
        <pc:picChg chg="add mod">
          <ac:chgData name="Malin Andersen" userId="67895919-1e14-47ad-aa24-7fe5f76b678e" providerId="ADAL" clId="{5DCD4660-5E0B-4218-8F86-E95870D147F1}" dt="2020-12-14T14:41:59.607" v="3897" actId="962"/>
          <ac:picMkLst>
            <pc:docMk/>
            <pc:sldMk cId="700524313" sldId="329"/>
            <ac:picMk id="8" creationId="{EC07090D-4FCE-4FC5-A61F-D9876E946A55}"/>
          </ac:picMkLst>
        </pc:picChg>
        <pc:picChg chg="add mod">
          <ac:chgData name="Malin Andersen" userId="67895919-1e14-47ad-aa24-7fe5f76b678e" providerId="ADAL" clId="{5DCD4660-5E0B-4218-8F86-E95870D147F1}" dt="2020-12-14T14:42:08.956" v="3947" actId="962"/>
          <ac:picMkLst>
            <pc:docMk/>
            <pc:sldMk cId="700524313" sldId="329"/>
            <ac:picMk id="10" creationId="{0CD121AC-A602-4F1B-A6A2-AFDA5E026A53}"/>
          </ac:picMkLst>
        </pc:picChg>
      </pc:sldChg>
      <pc:sldChg chg="addSp delSp modSp add modNotesTx">
        <pc:chgData name="Malin Andersen" userId="67895919-1e14-47ad-aa24-7fe5f76b678e" providerId="ADAL" clId="{5DCD4660-5E0B-4218-8F86-E95870D147F1}" dt="2020-12-22T16:20:53.663" v="5563"/>
        <pc:sldMkLst>
          <pc:docMk/>
          <pc:sldMk cId="3218187282" sldId="330"/>
        </pc:sldMkLst>
        <pc:spChg chg="del">
          <ac:chgData name="Malin Andersen" userId="67895919-1e14-47ad-aa24-7fe5f76b678e" providerId="ADAL" clId="{5DCD4660-5E0B-4218-8F86-E95870D147F1}" dt="2020-12-14T12:39:59.891" v="3683" actId="931"/>
          <ac:spMkLst>
            <pc:docMk/>
            <pc:sldMk cId="3218187282" sldId="330"/>
            <ac:spMk id="2" creationId="{02A1031F-6E33-479E-B2DF-47C76C0BB823}"/>
          </ac:spMkLst>
        </pc:spChg>
        <pc:spChg chg="mod">
          <ac:chgData name="Malin Andersen" userId="67895919-1e14-47ad-aa24-7fe5f76b678e" providerId="ADAL" clId="{5DCD4660-5E0B-4218-8F86-E95870D147F1}" dt="2020-12-22T16:20:53.663" v="5563"/>
          <ac:spMkLst>
            <pc:docMk/>
            <pc:sldMk cId="3218187282" sldId="330"/>
            <ac:spMk id="3" creationId="{AA7CBD6F-68F2-4259-917F-CA88FEF20830}"/>
          </ac:spMkLst>
        </pc:spChg>
        <pc:picChg chg="add mod">
          <ac:chgData name="Malin Andersen" userId="67895919-1e14-47ad-aa24-7fe5f76b678e" providerId="ADAL" clId="{5DCD4660-5E0B-4218-8F86-E95870D147F1}" dt="2020-12-14T12:40:31.040" v="3799" actId="962"/>
          <ac:picMkLst>
            <pc:docMk/>
            <pc:sldMk cId="3218187282" sldId="330"/>
            <ac:picMk id="5" creationId="{EEE5645F-D3F6-4664-81B3-A33B1A77E8C8}"/>
          </ac:picMkLst>
        </pc:picChg>
      </pc:sldChg>
      <pc:sldChg chg="addSp delSp modSp add modNotesTx">
        <pc:chgData name="Malin Andersen" userId="67895919-1e14-47ad-aa24-7fe5f76b678e" providerId="ADAL" clId="{5DCD4660-5E0B-4218-8F86-E95870D147F1}" dt="2020-12-22T16:20:58.955" v="5565"/>
        <pc:sldMkLst>
          <pc:docMk/>
          <pc:sldMk cId="1012138025" sldId="331"/>
        </pc:sldMkLst>
        <pc:spChg chg="del">
          <ac:chgData name="Malin Andersen" userId="67895919-1e14-47ad-aa24-7fe5f76b678e" providerId="ADAL" clId="{5DCD4660-5E0B-4218-8F86-E95870D147F1}" dt="2020-12-15T08:32:03.899" v="4028" actId="931"/>
          <ac:spMkLst>
            <pc:docMk/>
            <pc:sldMk cId="1012138025" sldId="331"/>
            <ac:spMk id="2" creationId="{02A1031F-6E33-479E-B2DF-47C76C0BB823}"/>
          </ac:spMkLst>
        </pc:spChg>
        <pc:spChg chg="mod">
          <ac:chgData name="Malin Andersen" userId="67895919-1e14-47ad-aa24-7fe5f76b678e" providerId="ADAL" clId="{5DCD4660-5E0B-4218-8F86-E95870D147F1}" dt="2020-12-22T16:20:58.955" v="5565"/>
          <ac:spMkLst>
            <pc:docMk/>
            <pc:sldMk cId="1012138025" sldId="331"/>
            <ac:spMk id="3" creationId="{AA7CBD6F-68F2-4259-917F-CA88FEF20830}"/>
          </ac:spMkLst>
        </pc:spChg>
        <pc:picChg chg="add mod">
          <ac:chgData name="Malin Andersen" userId="67895919-1e14-47ad-aa24-7fe5f76b678e" providerId="ADAL" clId="{5DCD4660-5E0B-4218-8F86-E95870D147F1}" dt="2020-12-15T21:23:22.125" v="4131" actId="962"/>
          <ac:picMkLst>
            <pc:docMk/>
            <pc:sldMk cId="1012138025" sldId="331"/>
            <ac:picMk id="5" creationId="{3BB9FCE5-90A9-461C-8A2F-01F3E662D3F4}"/>
          </ac:picMkLst>
        </pc:picChg>
      </pc:sldChg>
      <pc:sldChg chg="addSp delSp modSp add modNotesTx">
        <pc:chgData name="Malin Andersen" userId="67895919-1e14-47ad-aa24-7fe5f76b678e" providerId="ADAL" clId="{5DCD4660-5E0B-4218-8F86-E95870D147F1}" dt="2020-12-22T16:20:56.063" v="5564"/>
        <pc:sldMkLst>
          <pc:docMk/>
          <pc:sldMk cId="1649713979" sldId="332"/>
        </pc:sldMkLst>
        <pc:spChg chg="del">
          <ac:chgData name="Malin Andersen" userId="67895919-1e14-47ad-aa24-7fe5f76b678e" providerId="ADAL" clId="{5DCD4660-5E0B-4218-8F86-E95870D147F1}" dt="2020-12-14T15:38:44.763" v="3987" actId="931"/>
          <ac:spMkLst>
            <pc:docMk/>
            <pc:sldMk cId="1649713979" sldId="332"/>
            <ac:spMk id="2" creationId="{1B430169-D77E-4A3C-AC8A-06413E4AAB59}"/>
          </ac:spMkLst>
        </pc:spChg>
        <pc:spChg chg="mod">
          <ac:chgData name="Malin Andersen" userId="67895919-1e14-47ad-aa24-7fe5f76b678e" providerId="ADAL" clId="{5DCD4660-5E0B-4218-8F86-E95870D147F1}" dt="2020-12-22T16:20:56.063" v="5564"/>
          <ac:spMkLst>
            <pc:docMk/>
            <pc:sldMk cId="1649713979" sldId="332"/>
            <ac:spMk id="3" creationId="{EFD78609-71DF-4F82-8B5F-133CCAB39ABF}"/>
          </ac:spMkLst>
        </pc:spChg>
        <pc:picChg chg="add mod">
          <ac:chgData name="Malin Andersen" userId="67895919-1e14-47ad-aa24-7fe5f76b678e" providerId="ADAL" clId="{5DCD4660-5E0B-4218-8F86-E95870D147F1}" dt="2020-12-14T15:38:51.355" v="3989" actId="962"/>
          <ac:picMkLst>
            <pc:docMk/>
            <pc:sldMk cId="1649713979" sldId="332"/>
            <ac:picMk id="5" creationId="{9655162D-96DF-46C1-A513-EC9040972E52}"/>
          </ac:picMkLst>
        </pc:picChg>
      </pc:sldChg>
      <pc:sldChg chg="addSp delSp modSp add modNotesTx">
        <pc:chgData name="Malin Andersen" userId="67895919-1e14-47ad-aa24-7fe5f76b678e" providerId="ADAL" clId="{5DCD4660-5E0B-4218-8F86-E95870D147F1}" dt="2020-12-15T21:23:08.683" v="4063" actId="962"/>
        <pc:sldMkLst>
          <pc:docMk/>
          <pc:sldMk cId="1836871684" sldId="333"/>
        </pc:sldMkLst>
        <pc:spChg chg="mod">
          <ac:chgData name="Malin Andersen" userId="67895919-1e14-47ad-aa24-7fe5f76b678e" providerId="ADAL" clId="{5DCD4660-5E0B-4218-8F86-E95870D147F1}" dt="2020-12-15T21:22:51.416" v="4062" actId="20577"/>
          <ac:spMkLst>
            <pc:docMk/>
            <pc:sldMk cId="1836871684" sldId="333"/>
            <ac:spMk id="3" creationId="{AA7CBD6F-68F2-4259-917F-CA88FEF20830}"/>
          </ac:spMkLst>
        </pc:spChg>
        <pc:spChg chg="add del mod">
          <ac:chgData name="Malin Andersen" userId="67895919-1e14-47ad-aa24-7fe5f76b678e" providerId="ADAL" clId="{5DCD4660-5E0B-4218-8F86-E95870D147F1}" dt="2020-12-15T21:22:18.960" v="4050"/>
          <ac:spMkLst>
            <pc:docMk/>
            <pc:sldMk cId="1836871684" sldId="333"/>
            <ac:spMk id="4" creationId="{94A879CB-7607-486F-B859-FBC5743374D1}"/>
          </ac:spMkLst>
        </pc:spChg>
        <pc:spChg chg="add del mod">
          <ac:chgData name="Malin Andersen" userId="67895919-1e14-47ad-aa24-7fe5f76b678e" providerId="ADAL" clId="{5DCD4660-5E0B-4218-8F86-E95870D147F1}" dt="2020-12-15T21:22:42.456" v="4051"/>
          <ac:spMkLst>
            <pc:docMk/>
            <pc:sldMk cId="1836871684" sldId="333"/>
            <ac:spMk id="6" creationId="{B5D62E77-9EB6-4777-AF81-67C3AB9C969B}"/>
          </ac:spMkLst>
        </pc:spChg>
        <pc:picChg chg="del">
          <ac:chgData name="Malin Andersen" userId="67895919-1e14-47ad-aa24-7fe5f76b678e" providerId="ADAL" clId="{5DCD4660-5E0B-4218-8F86-E95870D147F1}" dt="2020-12-15T21:20:07.548" v="4040" actId="478"/>
          <ac:picMkLst>
            <pc:docMk/>
            <pc:sldMk cId="1836871684" sldId="333"/>
            <ac:picMk id="5" creationId="{3BB9FCE5-90A9-461C-8A2F-01F3E662D3F4}"/>
          </ac:picMkLst>
        </pc:picChg>
        <pc:picChg chg="add mod">
          <ac:chgData name="Malin Andersen" userId="67895919-1e14-47ad-aa24-7fe5f76b678e" providerId="ADAL" clId="{5DCD4660-5E0B-4218-8F86-E95870D147F1}" dt="2020-12-15T21:23:08.683" v="4063" actId="962"/>
          <ac:picMkLst>
            <pc:docMk/>
            <pc:sldMk cId="1836871684" sldId="333"/>
            <ac:picMk id="7" creationId="{F9C8D091-7C23-4B8A-84BC-3FB564966C01}"/>
          </ac:picMkLst>
        </pc:picChg>
      </pc:sldChg>
      <pc:sldChg chg="modSp add del">
        <pc:chgData name="Malin Andersen" userId="67895919-1e14-47ad-aa24-7fe5f76b678e" providerId="ADAL" clId="{5DCD4660-5E0B-4218-8F86-E95870D147F1}" dt="2020-12-22T16:09:50.937" v="5478" actId="20577"/>
        <pc:sldMkLst>
          <pc:docMk/>
          <pc:sldMk cId="2766376842" sldId="334"/>
        </pc:sldMkLst>
        <pc:spChg chg="mod">
          <ac:chgData name="Malin Andersen" userId="67895919-1e14-47ad-aa24-7fe5f76b678e" providerId="ADAL" clId="{5DCD4660-5E0B-4218-8F86-E95870D147F1}" dt="2020-12-22T16:09:50.937" v="5478" actId="20577"/>
          <ac:spMkLst>
            <pc:docMk/>
            <pc:sldMk cId="2766376842" sldId="334"/>
            <ac:spMk id="3" creationId="{86F3C8A3-F06A-4186-8103-1CEC5803AB35}"/>
          </ac:spMkLst>
        </pc:spChg>
      </pc:sldChg>
      <pc:sldChg chg="addSp delSp modSp add">
        <pc:chgData name="Malin Andersen" userId="67895919-1e14-47ad-aa24-7fe5f76b678e" providerId="ADAL" clId="{5DCD4660-5E0B-4218-8F86-E95870D147F1}" dt="2020-12-22T17:28:11.383" v="5707" actId="962"/>
        <pc:sldMkLst>
          <pc:docMk/>
          <pc:sldMk cId="2660844349" sldId="335"/>
        </pc:sldMkLst>
        <pc:spChg chg="del">
          <ac:chgData name="Malin Andersen" userId="67895919-1e14-47ad-aa24-7fe5f76b678e" providerId="ADAL" clId="{5DCD4660-5E0B-4218-8F86-E95870D147F1}" dt="2020-12-22T16:31:07.488" v="5689"/>
          <ac:spMkLst>
            <pc:docMk/>
            <pc:sldMk cId="2660844349" sldId="335"/>
            <ac:spMk id="2" creationId="{38612405-6BEF-4AE5-B36E-3C3679E86578}"/>
          </ac:spMkLst>
        </pc:spChg>
        <pc:spChg chg="del">
          <ac:chgData name="Malin Andersen" userId="67895919-1e14-47ad-aa24-7fe5f76b678e" providerId="ADAL" clId="{5DCD4660-5E0B-4218-8F86-E95870D147F1}" dt="2020-12-22T16:31:07.488" v="5689"/>
          <ac:spMkLst>
            <pc:docMk/>
            <pc:sldMk cId="2660844349" sldId="335"/>
            <ac:spMk id="3" creationId="{82543F3A-DB78-4263-B812-8B06ABCCBD1E}"/>
          </ac:spMkLst>
        </pc:spChg>
        <pc:spChg chg="add mod">
          <ac:chgData name="Malin Andersen" userId="67895919-1e14-47ad-aa24-7fe5f76b678e" providerId="ADAL" clId="{5DCD4660-5E0B-4218-8F86-E95870D147F1}" dt="2020-12-22T17:26:43.676" v="5703" actId="20577"/>
          <ac:spMkLst>
            <pc:docMk/>
            <pc:sldMk cId="2660844349" sldId="335"/>
            <ac:spMk id="6" creationId="{F208871E-CD74-4056-8D1B-27710EB85979}"/>
          </ac:spMkLst>
        </pc:spChg>
        <pc:spChg chg="add">
          <ac:chgData name="Malin Andersen" userId="67895919-1e14-47ad-aa24-7fe5f76b678e" providerId="ADAL" clId="{5DCD4660-5E0B-4218-8F86-E95870D147F1}" dt="2020-12-22T17:27:36.097" v="5704"/>
          <ac:spMkLst>
            <pc:docMk/>
            <pc:sldMk cId="2660844349" sldId="335"/>
            <ac:spMk id="7" creationId="{07F1E44A-E87C-46E8-9B79-3945412B9CE1}"/>
          </ac:spMkLst>
        </pc:spChg>
        <pc:picChg chg="add mod">
          <ac:chgData name="Malin Andersen" userId="67895919-1e14-47ad-aa24-7fe5f76b678e" providerId="ADAL" clId="{5DCD4660-5E0B-4218-8F86-E95870D147F1}" dt="2020-12-22T17:27:59.589" v="5705" actId="962"/>
          <ac:picMkLst>
            <pc:docMk/>
            <pc:sldMk cId="2660844349" sldId="335"/>
            <ac:picMk id="4" creationId="{F67A5FE2-7C07-41F2-840D-86267922228E}"/>
          </ac:picMkLst>
        </pc:picChg>
        <pc:picChg chg="add mod">
          <ac:chgData name="Malin Andersen" userId="67895919-1e14-47ad-aa24-7fe5f76b678e" providerId="ADAL" clId="{5DCD4660-5E0B-4218-8F86-E95870D147F1}" dt="2020-12-22T17:28:04.264" v="5706" actId="962"/>
          <ac:picMkLst>
            <pc:docMk/>
            <pc:sldMk cId="2660844349" sldId="335"/>
            <ac:picMk id="5" creationId="{88C9DF89-A366-479C-BAF1-2CC3EC940A1D}"/>
          </ac:picMkLst>
        </pc:picChg>
        <pc:picChg chg="add">
          <ac:chgData name="Malin Andersen" userId="67895919-1e14-47ad-aa24-7fe5f76b678e" providerId="ADAL" clId="{5DCD4660-5E0B-4218-8F86-E95870D147F1}" dt="2020-12-22T17:27:36.097" v="5704"/>
          <ac:picMkLst>
            <pc:docMk/>
            <pc:sldMk cId="2660844349" sldId="335"/>
            <ac:picMk id="8" creationId="{A4B38AC4-F40C-4941-9363-4791915CE18D}"/>
          </ac:picMkLst>
        </pc:picChg>
        <pc:picChg chg="add mod">
          <ac:chgData name="Malin Andersen" userId="67895919-1e14-47ad-aa24-7fe5f76b678e" providerId="ADAL" clId="{5DCD4660-5E0B-4218-8F86-E95870D147F1}" dt="2020-12-22T17:28:11.383" v="5707" actId="962"/>
          <ac:picMkLst>
            <pc:docMk/>
            <pc:sldMk cId="2660844349" sldId="335"/>
            <ac:picMk id="9" creationId="{A9322DA1-1C92-41B4-A5F2-4EE1A1B78A5B}"/>
          </ac:picMkLst>
        </pc:picChg>
      </pc:sldChg>
      <pc:sldChg chg="delSp add del">
        <pc:chgData name="Malin Andersen" userId="67895919-1e14-47ad-aa24-7fe5f76b678e" providerId="ADAL" clId="{5DCD4660-5E0B-4218-8F86-E95870D147F1}" dt="2020-12-22T16:30:24.353" v="5685" actId="2696"/>
        <pc:sldMkLst>
          <pc:docMk/>
          <pc:sldMk cId="3433595950" sldId="335"/>
        </pc:sldMkLst>
        <pc:spChg chg="del">
          <ac:chgData name="Malin Andersen" userId="67895919-1e14-47ad-aa24-7fe5f76b678e" providerId="ADAL" clId="{5DCD4660-5E0B-4218-8F86-E95870D147F1}" dt="2020-12-22T16:30:13.498" v="5684"/>
          <ac:spMkLst>
            <pc:docMk/>
            <pc:sldMk cId="3433595950" sldId="335"/>
            <ac:spMk id="2" creationId="{0C3FB265-4284-441D-B3B4-F87178F6401B}"/>
          </ac:spMkLst>
        </pc:spChg>
        <pc:spChg chg="del">
          <ac:chgData name="Malin Andersen" userId="67895919-1e14-47ad-aa24-7fe5f76b678e" providerId="ADAL" clId="{5DCD4660-5E0B-4218-8F86-E95870D147F1}" dt="2020-12-22T16:30:13.498" v="5684"/>
          <ac:spMkLst>
            <pc:docMk/>
            <pc:sldMk cId="3433595950" sldId="335"/>
            <ac:spMk id="3" creationId="{CEB7726E-48AF-41C9-8BEB-2DBB75AD6E13}"/>
          </ac:spMkLst>
        </pc:spChg>
      </pc:sldChg>
      <pc:sldChg chg="addSp delSp modSp add">
        <pc:chgData name="Malin Andersen" userId="67895919-1e14-47ad-aa24-7fe5f76b678e" providerId="ADAL" clId="{5DCD4660-5E0B-4218-8F86-E95870D147F1}" dt="2021-01-07T07:52:10.788" v="5715" actId="931"/>
        <pc:sldMkLst>
          <pc:docMk/>
          <pc:sldMk cId="2357664351" sldId="336"/>
        </pc:sldMkLst>
        <pc:spChg chg="add del mod">
          <ac:chgData name="Malin Andersen" userId="67895919-1e14-47ad-aa24-7fe5f76b678e" providerId="ADAL" clId="{5DCD4660-5E0B-4218-8F86-E95870D147F1}" dt="2021-01-07T07:51:48.938" v="5713" actId="931"/>
          <ac:spMkLst>
            <pc:docMk/>
            <pc:sldMk cId="2357664351" sldId="336"/>
            <ac:spMk id="2" creationId="{9CAEA189-8B54-4787-B763-B5DBA4907167}"/>
          </ac:spMkLst>
        </pc:spChg>
        <pc:spChg chg="add del mod">
          <ac:chgData name="Malin Andersen" userId="67895919-1e14-47ad-aa24-7fe5f76b678e" providerId="ADAL" clId="{5DCD4660-5E0B-4218-8F86-E95870D147F1}" dt="2021-01-07T07:52:10.788" v="5715" actId="931"/>
          <ac:spMkLst>
            <pc:docMk/>
            <pc:sldMk cId="2357664351" sldId="336"/>
            <ac:spMk id="7" creationId="{D1CCF5D5-10EB-4D05-824C-3758C4141C6A}"/>
          </ac:spMkLst>
        </pc:spChg>
        <pc:picChg chg="add del mod">
          <ac:chgData name="Malin Andersen" userId="67895919-1e14-47ad-aa24-7fe5f76b678e" providerId="ADAL" clId="{5DCD4660-5E0B-4218-8F86-E95870D147F1}" dt="2021-01-07T07:52:04.377" v="5714" actId="478"/>
          <ac:picMkLst>
            <pc:docMk/>
            <pc:sldMk cId="2357664351" sldId="336"/>
            <ac:picMk id="5" creationId="{928AB3D1-5259-4195-8C63-1FB1EC3C55B6}"/>
          </ac:picMkLst>
        </pc:picChg>
        <pc:picChg chg="add mod">
          <ac:chgData name="Malin Andersen" userId="67895919-1e14-47ad-aa24-7fe5f76b678e" providerId="ADAL" clId="{5DCD4660-5E0B-4218-8F86-E95870D147F1}" dt="2021-01-07T07:52:10.788" v="5715" actId="931"/>
          <ac:picMkLst>
            <pc:docMk/>
            <pc:sldMk cId="2357664351" sldId="336"/>
            <ac:picMk id="9" creationId="{BEE2753B-14E3-4428-8D37-C95B43F89829}"/>
          </ac:picMkLst>
        </pc:picChg>
        <pc:picChg chg="del">
          <ac:chgData name="Malin Andersen" userId="67895919-1e14-47ad-aa24-7fe5f76b678e" providerId="ADAL" clId="{5DCD4660-5E0B-4218-8F86-E95870D147F1}" dt="2021-01-07T07:51:14.498" v="5711" actId="478"/>
          <ac:picMkLst>
            <pc:docMk/>
            <pc:sldMk cId="2357664351" sldId="336"/>
            <ac:picMk id="17" creationId="{6FF53B3C-8E30-4A4C-87F2-CBB6247275EA}"/>
          </ac:picMkLst>
        </pc:picChg>
      </pc:sldChg>
      <pc:sldMasterChg chg="modSldLayout">
        <pc:chgData name="Malin Andersen" userId="67895919-1e14-47ad-aa24-7fe5f76b678e" providerId="ADAL" clId="{5DCD4660-5E0B-4218-8F86-E95870D147F1}" dt="2021-01-17T16:15:43.291" v="5724" actId="207"/>
        <pc:sldMasterMkLst>
          <pc:docMk/>
          <pc:sldMasterMk cId="3333494721" sldId="2147483648"/>
        </pc:sldMasterMkLst>
        <pc:sldLayoutChg chg="delSp modSp">
          <pc:chgData name="Malin Andersen" userId="67895919-1e14-47ad-aa24-7fe5f76b678e" providerId="ADAL" clId="{5DCD4660-5E0B-4218-8F86-E95870D147F1}" dt="2020-12-22T16:27:27.608" v="5681"/>
          <pc:sldLayoutMkLst>
            <pc:docMk/>
            <pc:sldMasterMk cId="3333494721" sldId="2147483648"/>
            <pc:sldLayoutMk cId="1894618124" sldId="2147483663"/>
          </pc:sldLayoutMkLst>
          <pc:spChg chg="del">
            <ac:chgData name="Malin Andersen" userId="67895919-1e14-47ad-aa24-7fe5f76b678e" providerId="ADAL" clId="{5DCD4660-5E0B-4218-8F86-E95870D147F1}" dt="2020-12-22T16:27:27.608" v="5681"/>
            <ac:spMkLst>
              <pc:docMk/>
              <pc:sldMasterMk cId="3333494721" sldId="2147483648"/>
              <pc:sldLayoutMk cId="1894618124" sldId="2147483663"/>
              <ac:spMk id="6" creationId="{00000000-0000-0000-0000-000000000000}"/>
            </ac:spMkLst>
          </pc:spChg>
          <pc:picChg chg="mod">
            <ac:chgData name="Malin Andersen" userId="67895919-1e14-47ad-aa24-7fe5f76b678e" providerId="ADAL" clId="{5DCD4660-5E0B-4218-8F86-E95870D147F1}" dt="2020-12-22T16:22:18.080" v="5574" actId="962"/>
            <ac:picMkLst>
              <pc:docMk/>
              <pc:sldMasterMk cId="3333494721" sldId="2147483648"/>
              <pc:sldLayoutMk cId="1894618124" sldId="2147483663"/>
              <ac:picMk id="7" creationId="{00000000-0000-0000-0000-000000000000}"/>
            </ac:picMkLst>
          </pc:picChg>
        </pc:sldLayoutChg>
        <pc:sldLayoutChg chg="modSp">
          <pc:chgData name="Malin Andersen" userId="67895919-1e14-47ad-aa24-7fe5f76b678e" providerId="ADAL" clId="{5DCD4660-5E0B-4218-8F86-E95870D147F1}" dt="2021-01-17T16:15:43.291" v="5724" actId="207"/>
          <pc:sldLayoutMkLst>
            <pc:docMk/>
            <pc:sldMasterMk cId="3333494721" sldId="2147483648"/>
            <pc:sldLayoutMk cId="4283219465" sldId="2147483672"/>
          </pc:sldLayoutMkLst>
          <pc:spChg chg="mod">
            <ac:chgData name="Malin Andersen" userId="67895919-1e14-47ad-aa24-7fe5f76b678e" providerId="ADAL" clId="{5DCD4660-5E0B-4218-8F86-E95870D147F1}" dt="2021-01-17T16:15:43.291" v="5724" actId="207"/>
            <ac:spMkLst>
              <pc:docMk/>
              <pc:sldMasterMk cId="3333494721" sldId="2147483648"/>
              <pc:sldLayoutMk cId="4283219465" sldId="2147483672"/>
              <ac:spMk id="2" creationId="{00000000-0000-0000-0000-000000000000}"/>
            </ac:spMkLst>
          </pc:spChg>
          <pc:spChg chg="mod">
            <ac:chgData name="Malin Andersen" userId="67895919-1e14-47ad-aa24-7fe5f76b678e" providerId="ADAL" clId="{5DCD4660-5E0B-4218-8F86-E95870D147F1}" dt="2021-01-17T16:15:21.396" v="5722" actId="207"/>
            <ac:spMkLst>
              <pc:docMk/>
              <pc:sldMasterMk cId="3333494721" sldId="2147483648"/>
              <pc:sldLayoutMk cId="4283219465" sldId="2147483672"/>
              <ac:spMk id="9" creationId="{00000000-0000-0000-0000-000000000000}"/>
            </ac:spMkLst>
          </pc:spChg>
        </pc:sldLayoutChg>
        <pc:sldLayoutChg chg="delSp">
          <pc:chgData name="Malin Andersen" userId="67895919-1e14-47ad-aa24-7fe5f76b678e" providerId="ADAL" clId="{5DCD4660-5E0B-4218-8F86-E95870D147F1}" dt="2020-12-22T16:30:43.005" v="5687"/>
          <pc:sldLayoutMkLst>
            <pc:docMk/>
            <pc:sldMasterMk cId="3333494721" sldId="2147483648"/>
            <pc:sldLayoutMk cId="245695660" sldId="2147483676"/>
          </pc:sldLayoutMkLst>
          <pc:picChg chg="del">
            <ac:chgData name="Malin Andersen" userId="67895919-1e14-47ad-aa24-7fe5f76b678e" providerId="ADAL" clId="{5DCD4660-5E0B-4218-8F86-E95870D147F1}" dt="2020-12-22T16:30:43.005" v="5687"/>
            <ac:picMkLst>
              <pc:docMk/>
              <pc:sldMasterMk cId="3333494721" sldId="2147483648"/>
              <pc:sldLayoutMk cId="245695660" sldId="2147483676"/>
              <ac:picMk id="4" creationId="{5CEB655B-B40A-4268-A9D0-5713A508DF6D}"/>
            </ac:picMkLst>
          </pc:picChg>
          <pc:cxnChg chg="del">
            <ac:chgData name="Malin Andersen" userId="67895919-1e14-47ad-aa24-7fe5f76b678e" providerId="ADAL" clId="{5DCD4660-5E0B-4218-8F86-E95870D147F1}" dt="2020-12-22T16:30:41.374" v="5686" actId="478"/>
            <ac:cxnSpMkLst>
              <pc:docMk/>
              <pc:sldMasterMk cId="3333494721" sldId="2147483648"/>
              <pc:sldLayoutMk cId="245695660" sldId="2147483676"/>
              <ac:cxnSpMk id="7" creationId="{B368D6FD-02EE-4D2E-94F5-43F93AED30CB}"/>
            </ac:cxnSpMkLst>
          </pc:cxnChg>
        </pc:sldLayoutChg>
      </pc:sldMasterChg>
    </pc:docChg>
  </pc:docChgLst>
  <pc:docChgLst>
    <pc:chgData name="Malin Andersen" userId="67895919-1e14-47ad-aa24-7fe5f76b678e" providerId="ADAL" clId="{F60EAD59-8699-4C28-87D8-BB7D1AE06AFA}"/>
    <pc:docChg chg="undo custSel addSld delSld modSld modMainMaster">
      <pc:chgData name="Malin Andersen" userId="67895919-1e14-47ad-aa24-7fe5f76b678e" providerId="ADAL" clId="{F60EAD59-8699-4C28-87D8-BB7D1AE06AFA}" dt="2021-05-31T14:43:58.224" v="77" actId="47"/>
      <pc:docMkLst>
        <pc:docMk/>
      </pc:docMkLst>
      <pc:sldChg chg="modSp">
        <pc:chgData name="Malin Andersen" userId="67895919-1e14-47ad-aa24-7fe5f76b678e" providerId="ADAL" clId="{F60EAD59-8699-4C28-87D8-BB7D1AE06AFA}" dt="2021-05-31T14:10:46.144" v="13" actId="13244"/>
        <pc:sldMkLst>
          <pc:docMk/>
          <pc:sldMk cId="2927447702" sldId="276"/>
        </pc:sldMkLst>
        <pc:spChg chg="mod">
          <ac:chgData name="Malin Andersen" userId="67895919-1e14-47ad-aa24-7fe5f76b678e" providerId="ADAL" clId="{F60EAD59-8699-4C28-87D8-BB7D1AE06AFA}" dt="2021-05-31T14:10:46.144" v="13" actId="13244"/>
          <ac:spMkLst>
            <pc:docMk/>
            <pc:sldMk cId="2927447702" sldId="276"/>
            <ac:spMk id="4" creationId="{78EB0F59-CB35-4457-8E0D-DDDEF634D08A}"/>
          </ac:spMkLst>
        </pc:spChg>
      </pc:sldChg>
      <pc:sldChg chg="modSp mod">
        <pc:chgData name="Malin Andersen" userId="67895919-1e14-47ad-aa24-7fe5f76b678e" providerId="ADAL" clId="{F60EAD59-8699-4C28-87D8-BB7D1AE06AFA}" dt="2021-05-31T14:09:01.305" v="4" actId="166"/>
        <pc:sldMkLst>
          <pc:docMk/>
          <pc:sldMk cId="1921485719" sldId="282"/>
        </pc:sldMkLst>
        <pc:spChg chg="mod ord">
          <ac:chgData name="Malin Andersen" userId="67895919-1e14-47ad-aa24-7fe5f76b678e" providerId="ADAL" clId="{F60EAD59-8699-4C28-87D8-BB7D1AE06AFA}" dt="2021-05-31T14:09:01.305" v="4" actId="166"/>
          <ac:spMkLst>
            <pc:docMk/>
            <pc:sldMk cId="1921485719" sldId="282"/>
            <ac:spMk id="4" creationId="{4D755D44-9CAF-4D6B-AD39-3AC81F201A11}"/>
          </ac:spMkLst>
        </pc:spChg>
      </pc:sldChg>
      <pc:sldChg chg="modSp">
        <pc:chgData name="Malin Andersen" userId="67895919-1e14-47ad-aa24-7fe5f76b678e" providerId="ADAL" clId="{F60EAD59-8699-4C28-87D8-BB7D1AE06AFA}" dt="2021-05-31T14:16:22.485" v="35" actId="13244"/>
        <pc:sldMkLst>
          <pc:docMk/>
          <pc:sldMk cId="2787381860" sldId="292"/>
        </pc:sldMkLst>
        <pc:picChg chg="mod">
          <ac:chgData name="Malin Andersen" userId="67895919-1e14-47ad-aa24-7fe5f76b678e" providerId="ADAL" clId="{F60EAD59-8699-4C28-87D8-BB7D1AE06AFA}" dt="2021-05-31T14:16:22.485" v="35" actId="13244"/>
          <ac:picMkLst>
            <pc:docMk/>
            <pc:sldMk cId="2787381860" sldId="292"/>
            <ac:picMk id="10" creationId="{7A5EDD96-D68F-4761-A8F9-977D5FC753D6}"/>
          </ac:picMkLst>
        </pc:picChg>
      </pc:sldChg>
      <pc:sldChg chg="modSp">
        <pc:chgData name="Malin Andersen" userId="67895919-1e14-47ad-aa24-7fe5f76b678e" providerId="ADAL" clId="{F60EAD59-8699-4C28-87D8-BB7D1AE06AFA}" dt="2021-05-31T14:17:11.157" v="37" actId="13244"/>
        <pc:sldMkLst>
          <pc:docMk/>
          <pc:sldMk cId="3446498937" sldId="309"/>
        </pc:sldMkLst>
        <pc:spChg chg="mod">
          <ac:chgData name="Malin Andersen" userId="67895919-1e14-47ad-aa24-7fe5f76b678e" providerId="ADAL" clId="{F60EAD59-8699-4C28-87D8-BB7D1AE06AFA}" dt="2021-05-31T14:17:11.157" v="37" actId="13244"/>
          <ac:spMkLst>
            <pc:docMk/>
            <pc:sldMk cId="3446498937" sldId="309"/>
            <ac:spMk id="4" creationId="{C59B76D8-771E-421C-8919-7A8B0AB08D3B}"/>
          </ac:spMkLst>
        </pc:spChg>
      </pc:sldChg>
      <pc:sldChg chg="modNotes">
        <pc:chgData name="Malin Andersen" userId="67895919-1e14-47ad-aa24-7fe5f76b678e" providerId="ADAL" clId="{F60EAD59-8699-4C28-87D8-BB7D1AE06AFA}" dt="2021-05-31T14:08:17.549" v="1" actId="27636"/>
        <pc:sldMkLst>
          <pc:docMk/>
          <pc:sldMk cId="3218187282" sldId="330"/>
        </pc:sldMkLst>
      </pc:sldChg>
      <pc:sldChg chg="modSp">
        <pc:chgData name="Malin Andersen" userId="67895919-1e14-47ad-aa24-7fe5f76b678e" providerId="ADAL" clId="{F60EAD59-8699-4C28-87D8-BB7D1AE06AFA}" dt="2021-05-31T14:18:58.184" v="42" actId="13244"/>
        <pc:sldMkLst>
          <pc:docMk/>
          <pc:sldMk cId="2766376842" sldId="334"/>
        </pc:sldMkLst>
        <pc:spChg chg="mod">
          <ac:chgData name="Malin Andersen" userId="67895919-1e14-47ad-aa24-7fe5f76b678e" providerId="ADAL" clId="{F60EAD59-8699-4C28-87D8-BB7D1AE06AFA}" dt="2021-05-31T14:18:58.184" v="42" actId="13244"/>
          <ac:spMkLst>
            <pc:docMk/>
            <pc:sldMk cId="2766376842" sldId="334"/>
            <ac:spMk id="3" creationId="{86F3C8A3-F06A-4186-8103-1CEC5803AB35}"/>
          </ac:spMkLst>
        </pc:spChg>
      </pc:sldChg>
      <pc:sldChg chg="modSp mod">
        <pc:chgData name="Malin Andersen" userId="67895919-1e14-47ad-aa24-7fe5f76b678e" providerId="ADAL" clId="{F60EAD59-8699-4C28-87D8-BB7D1AE06AFA}" dt="2021-05-31T14:19:09.670" v="44" actId="20577"/>
        <pc:sldMkLst>
          <pc:docMk/>
          <pc:sldMk cId="2239747903" sldId="337"/>
        </pc:sldMkLst>
        <pc:spChg chg="mod">
          <ac:chgData name="Malin Andersen" userId="67895919-1e14-47ad-aa24-7fe5f76b678e" providerId="ADAL" clId="{F60EAD59-8699-4C28-87D8-BB7D1AE06AFA}" dt="2021-05-31T14:19:09.670" v="44" actId="20577"/>
          <ac:spMkLst>
            <pc:docMk/>
            <pc:sldMk cId="2239747903" sldId="337"/>
            <ac:spMk id="4" creationId="{8A506740-1EE5-4EF8-A9E8-34D21E04966B}"/>
          </ac:spMkLst>
        </pc:spChg>
      </pc:sldChg>
      <pc:sldChg chg="modSp add del mod">
        <pc:chgData name="Malin Andersen" userId="67895919-1e14-47ad-aa24-7fe5f76b678e" providerId="ADAL" clId="{F60EAD59-8699-4C28-87D8-BB7D1AE06AFA}" dt="2021-05-31T14:43:58.224" v="77" actId="47"/>
        <pc:sldMkLst>
          <pc:docMk/>
          <pc:sldMk cId="1601250706" sldId="338"/>
        </pc:sldMkLst>
        <pc:spChg chg="mod">
          <ac:chgData name="Malin Andersen" userId="67895919-1e14-47ad-aa24-7fe5f76b678e" providerId="ADAL" clId="{F60EAD59-8699-4C28-87D8-BB7D1AE06AFA}" dt="2021-05-31T14:37:37.332" v="74" actId="13244"/>
          <ac:spMkLst>
            <pc:docMk/>
            <pc:sldMk cId="1601250706" sldId="338"/>
            <ac:spMk id="4" creationId="{78EB0F59-CB35-4457-8E0D-DDDEF634D08A}"/>
          </ac:spMkLst>
        </pc:spChg>
        <pc:picChg chg="mod ord">
          <ac:chgData name="Malin Andersen" userId="67895919-1e14-47ad-aa24-7fe5f76b678e" providerId="ADAL" clId="{F60EAD59-8699-4C28-87D8-BB7D1AE06AFA}" dt="2021-05-31T14:35:06.633" v="67" actId="167"/>
          <ac:picMkLst>
            <pc:docMk/>
            <pc:sldMk cId="1601250706" sldId="338"/>
            <ac:picMk id="7" creationId="{FADDF899-25C3-4FB2-847E-77B340596A1C}"/>
          </ac:picMkLst>
        </pc:picChg>
      </pc:sldChg>
      <pc:sldChg chg="add del">
        <pc:chgData name="Malin Andersen" userId="67895919-1e14-47ad-aa24-7fe5f76b678e" providerId="ADAL" clId="{F60EAD59-8699-4C28-87D8-BB7D1AE06AFA}" dt="2021-05-31T14:15:40.534" v="34" actId="47"/>
        <pc:sldMkLst>
          <pc:docMk/>
          <pc:sldMk cId="2959521708" sldId="338"/>
        </pc:sldMkLst>
      </pc:sldChg>
      <pc:sldChg chg="addSp delSp modSp add del mod">
        <pc:chgData name="Malin Andersen" userId="67895919-1e14-47ad-aa24-7fe5f76b678e" providerId="ADAL" clId="{F60EAD59-8699-4C28-87D8-BB7D1AE06AFA}" dt="2021-05-31T14:17:56.938" v="41" actId="47"/>
        <pc:sldMkLst>
          <pc:docMk/>
          <pc:sldMk cId="4014220243" sldId="338"/>
        </pc:sldMkLst>
        <pc:spChg chg="add mod">
          <ac:chgData name="Malin Andersen" userId="67895919-1e14-47ad-aa24-7fe5f76b678e" providerId="ADAL" clId="{F60EAD59-8699-4C28-87D8-BB7D1AE06AFA}" dt="2021-05-31T14:17:38.816" v="39"/>
          <ac:spMkLst>
            <pc:docMk/>
            <pc:sldMk cId="4014220243" sldId="338"/>
            <ac:spMk id="2" creationId="{832E92DE-0FE7-407A-9FAC-8ED56ABCE378}"/>
          </ac:spMkLst>
        </pc:spChg>
        <pc:spChg chg="mod">
          <ac:chgData name="Malin Andersen" userId="67895919-1e14-47ad-aa24-7fe5f76b678e" providerId="ADAL" clId="{F60EAD59-8699-4C28-87D8-BB7D1AE06AFA}" dt="2021-05-31T14:17:38.816" v="39"/>
          <ac:spMkLst>
            <pc:docMk/>
            <pc:sldMk cId="4014220243" sldId="338"/>
            <ac:spMk id="4" creationId="{C59B76D8-771E-421C-8919-7A8B0AB08D3B}"/>
          </ac:spMkLst>
        </pc:spChg>
        <pc:spChg chg="add mod">
          <ac:chgData name="Malin Andersen" userId="67895919-1e14-47ad-aa24-7fe5f76b678e" providerId="ADAL" clId="{F60EAD59-8699-4C28-87D8-BB7D1AE06AFA}" dt="2021-05-31T14:17:54.708" v="40" actId="478"/>
          <ac:spMkLst>
            <pc:docMk/>
            <pc:sldMk cId="4014220243" sldId="338"/>
            <ac:spMk id="5" creationId="{9E8632A6-F1FF-4BD2-BFEA-F1FA910C872D}"/>
          </ac:spMkLst>
        </pc:spChg>
        <pc:picChg chg="del mod">
          <ac:chgData name="Malin Andersen" userId="67895919-1e14-47ad-aa24-7fe5f76b678e" providerId="ADAL" clId="{F60EAD59-8699-4C28-87D8-BB7D1AE06AFA}" dt="2021-05-31T14:17:54.708" v="40" actId="478"/>
          <ac:picMkLst>
            <pc:docMk/>
            <pc:sldMk cId="4014220243" sldId="338"/>
            <ac:picMk id="7" creationId="{25E03F56-2C5E-40E4-A626-1DE1742053E7}"/>
          </ac:picMkLst>
        </pc:picChg>
      </pc:sldChg>
      <pc:sldChg chg="addSp delSp modSp new del mod">
        <pc:chgData name="Malin Andersen" userId="67895919-1e14-47ad-aa24-7fe5f76b678e" providerId="ADAL" clId="{F60EAD59-8699-4C28-87D8-BB7D1AE06AFA}" dt="2021-05-31T14:15:38.704" v="33" actId="47"/>
        <pc:sldMkLst>
          <pc:docMk/>
          <pc:sldMk cId="690615896" sldId="339"/>
        </pc:sldMkLst>
        <pc:spChg chg="del mod ord">
          <ac:chgData name="Malin Andersen" userId="67895919-1e14-47ad-aa24-7fe5f76b678e" providerId="ADAL" clId="{F60EAD59-8699-4C28-87D8-BB7D1AE06AFA}" dt="2021-05-31T14:15:36.669" v="32" actId="478"/>
          <ac:spMkLst>
            <pc:docMk/>
            <pc:sldMk cId="690615896" sldId="339"/>
            <ac:spMk id="2" creationId="{BBE9F70D-21A8-4DB3-831A-EBFF7FA447AA}"/>
          </ac:spMkLst>
        </pc:spChg>
        <pc:spChg chg="del mod">
          <ac:chgData name="Malin Andersen" userId="67895919-1e14-47ad-aa24-7fe5f76b678e" providerId="ADAL" clId="{F60EAD59-8699-4C28-87D8-BB7D1AE06AFA}" dt="2021-05-31T14:15:14.550" v="30" actId="931"/>
          <ac:spMkLst>
            <pc:docMk/>
            <pc:sldMk cId="690615896" sldId="339"/>
            <ac:spMk id="3" creationId="{97E7DD1B-5796-4872-B3BA-D50FDF144703}"/>
          </ac:spMkLst>
        </pc:spChg>
        <pc:spChg chg="add mod">
          <ac:chgData name="Malin Andersen" userId="67895919-1e14-47ad-aa24-7fe5f76b678e" providerId="ADAL" clId="{F60EAD59-8699-4C28-87D8-BB7D1AE06AFA}" dt="2021-05-31T14:15:36.669" v="32" actId="478"/>
          <ac:spMkLst>
            <pc:docMk/>
            <pc:sldMk cId="690615896" sldId="339"/>
            <ac:spMk id="7" creationId="{08C6555F-6845-46B4-B5AC-C5F721A90347}"/>
          </ac:spMkLst>
        </pc:spChg>
        <pc:picChg chg="add mod">
          <ac:chgData name="Malin Andersen" userId="67895919-1e14-47ad-aa24-7fe5f76b678e" providerId="ADAL" clId="{F60EAD59-8699-4C28-87D8-BB7D1AE06AFA}" dt="2021-05-31T14:15:14.550" v="30" actId="931"/>
          <ac:picMkLst>
            <pc:docMk/>
            <pc:sldMk cId="690615896" sldId="339"/>
            <ac:picMk id="5" creationId="{1927D7C6-4411-40FA-9F29-27A98E7E54A0}"/>
          </ac:picMkLst>
        </pc:picChg>
      </pc:sldChg>
      <pc:sldMasterChg chg="modSldLayout">
        <pc:chgData name="Malin Andersen" userId="67895919-1e14-47ad-aa24-7fe5f76b678e" providerId="ADAL" clId="{F60EAD59-8699-4C28-87D8-BB7D1AE06AFA}" dt="2021-05-31T14:38:37.066" v="76" actId="166"/>
        <pc:sldMasterMkLst>
          <pc:docMk/>
          <pc:sldMasterMk cId="3333494721" sldId="2147483648"/>
        </pc:sldMasterMkLst>
        <pc:sldLayoutChg chg="modSp mod">
          <pc:chgData name="Malin Andersen" userId="67895919-1e14-47ad-aa24-7fe5f76b678e" providerId="ADAL" clId="{F60EAD59-8699-4C28-87D8-BB7D1AE06AFA}" dt="2021-05-31T14:38:37.066" v="76" actId="166"/>
          <pc:sldLayoutMkLst>
            <pc:docMk/>
            <pc:sldMasterMk cId="3333494721" sldId="2147483648"/>
            <pc:sldLayoutMk cId="3309145013" sldId="2147483669"/>
          </pc:sldLayoutMkLst>
          <pc:spChg chg="ord">
            <ac:chgData name="Malin Andersen" userId="67895919-1e14-47ad-aa24-7fe5f76b678e" providerId="ADAL" clId="{F60EAD59-8699-4C28-87D8-BB7D1AE06AFA}" dt="2021-05-31T14:38:37.066" v="76" actId="166"/>
            <ac:spMkLst>
              <pc:docMk/>
              <pc:sldMasterMk cId="3333494721" sldId="2147483648"/>
              <pc:sldLayoutMk cId="3309145013" sldId="2147483669"/>
              <ac:spMk id="2" creationId="{00000000-0000-0000-0000-000000000000}"/>
            </ac:spMkLst>
          </pc:spChg>
        </pc:sldLayoutChg>
        <pc:sldLayoutChg chg="modSp mod">
          <pc:chgData name="Malin Andersen" userId="67895919-1e14-47ad-aa24-7fe5f76b678e" providerId="ADAL" clId="{F60EAD59-8699-4C28-87D8-BB7D1AE06AFA}" dt="2021-05-31T14:10:32.214" v="11" actId="1038"/>
          <pc:sldLayoutMkLst>
            <pc:docMk/>
            <pc:sldMasterMk cId="3333494721" sldId="2147483648"/>
            <pc:sldLayoutMk cId="2135608795" sldId="2147483675"/>
          </pc:sldLayoutMkLst>
          <pc:spChg chg="mod">
            <ac:chgData name="Malin Andersen" userId="67895919-1e14-47ad-aa24-7fe5f76b678e" providerId="ADAL" clId="{F60EAD59-8699-4C28-87D8-BB7D1AE06AFA}" dt="2021-05-31T14:10:32.214" v="11" actId="1038"/>
            <ac:spMkLst>
              <pc:docMk/>
              <pc:sldMasterMk cId="3333494721" sldId="2147483648"/>
              <pc:sldLayoutMk cId="2135608795" sldId="2147483675"/>
              <ac:spMk id="7" creationId="{3A6F750B-3E7F-4675-ABCD-CAFD220E4E5A}"/>
            </ac:spMkLst>
          </pc:spChg>
          <pc:picChg chg="mod">
            <ac:chgData name="Malin Andersen" userId="67895919-1e14-47ad-aa24-7fe5f76b678e" providerId="ADAL" clId="{F60EAD59-8699-4C28-87D8-BB7D1AE06AFA}" dt="2021-05-31T14:09:53.582" v="7" actId="14429"/>
            <ac:picMkLst>
              <pc:docMk/>
              <pc:sldMasterMk cId="3333494721" sldId="2147483648"/>
              <pc:sldLayoutMk cId="2135608795" sldId="2147483675"/>
              <ac:picMk id="6" creationId="{3F61FABF-58A9-4887-A906-E8049BCD2D7D}"/>
            </ac:picMkLst>
          </pc:picChg>
          <pc:cxnChg chg="mod">
            <ac:chgData name="Malin Andersen" userId="67895919-1e14-47ad-aa24-7fe5f76b678e" providerId="ADAL" clId="{F60EAD59-8699-4C28-87D8-BB7D1AE06AFA}" dt="2021-05-31T14:10:08.053" v="9" actId="13244"/>
            <ac:cxnSpMkLst>
              <pc:docMk/>
              <pc:sldMasterMk cId="3333494721" sldId="2147483648"/>
              <pc:sldLayoutMk cId="2135608795" sldId="2147483675"/>
              <ac:cxnSpMk id="9" creationId="{BA28871D-8A7A-4124-AEDA-F5408684C4D5}"/>
            </ac:cxnSpMkLst>
          </pc:cxnChg>
        </pc:sldLayoutChg>
        <pc:sldLayoutChg chg="modSp mod">
          <pc:chgData name="Malin Andersen" userId="67895919-1e14-47ad-aa24-7fe5f76b678e" providerId="ADAL" clId="{F60EAD59-8699-4C28-87D8-BB7D1AE06AFA}" dt="2021-05-31T14:37:17.961" v="73" actId="167"/>
          <pc:sldLayoutMkLst>
            <pc:docMk/>
            <pc:sldMasterMk cId="3333494721" sldId="2147483648"/>
            <pc:sldLayoutMk cId="2712956416" sldId="2147483677"/>
          </pc:sldLayoutMkLst>
          <pc:spChg chg="mod ord">
            <ac:chgData name="Malin Andersen" userId="67895919-1e14-47ad-aa24-7fe5f76b678e" providerId="ADAL" clId="{F60EAD59-8699-4C28-87D8-BB7D1AE06AFA}" dt="2021-05-31T14:37:17.961" v="73" actId="167"/>
            <ac:spMkLst>
              <pc:docMk/>
              <pc:sldMasterMk cId="3333494721" sldId="2147483648"/>
              <pc:sldLayoutMk cId="2712956416" sldId="2147483677"/>
              <ac:spMk id="2" creationId="{00000000-0000-0000-0000-000000000000}"/>
            </ac:spMkLst>
          </pc:spChg>
          <pc:spChg chg="mod ord">
            <ac:chgData name="Malin Andersen" userId="67895919-1e14-47ad-aa24-7fe5f76b678e" providerId="ADAL" clId="{F60EAD59-8699-4C28-87D8-BB7D1AE06AFA}" dt="2021-05-31T14:37:06.628" v="72" actId="166"/>
            <ac:spMkLst>
              <pc:docMk/>
              <pc:sldMasterMk cId="3333494721" sldId="2147483648"/>
              <pc:sldLayoutMk cId="2712956416" sldId="2147483677"/>
              <ac:spMk id="5" creationId="{00000000-0000-0000-0000-000000000000}"/>
            </ac:spMkLst>
          </pc:spChg>
        </pc:sldLayoutChg>
      </pc:sldMasterChg>
    </pc:docChg>
  </pc:docChgLst>
  <pc:docChgLst>
    <pc:chgData name="Liv Karin Eilevstad" userId="S::slke@udi.no::ee781d7f-0e27-497d-8bec-2994a5bcf13b" providerId="AD" clId="Web-{EE65C09F-B08B-2000-940C-9E95F203FB93}"/>
    <pc:docChg chg="modSld">
      <pc:chgData name="Liv Karin Eilevstad" userId="S::slke@udi.no::ee781d7f-0e27-497d-8bec-2994a5bcf13b" providerId="AD" clId="Web-{EE65C09F-B08B-2000-940C-9E95F203FB93}" dt="2021-04-21T11:47:54.024" v="2"/>
      <pc:docMkLst>
        <pc:docMk/>
      </pc:docMkLst>
      <pc:sldChg chg="modNotes">
        <pc:chgData name="Liv Karin Eilevstad" userId="S::slke@udi.no::ee781d7f-0e27-497d-8bec-2994a5bcf13b" providerId="AD" clId="Web-{EE65C09F-B08B-2000-940C-9E95F203FB93}" dt="2021-04-21T11:47:54.024" v="2"/>
        <pc:sldMkLst>
          <pc:docMk/>
          <pc:sldMk cId="3063063376" sldId="277"/>
        </pc:sldMkLst>
      </pc:sldChg>
    </pc:docChg>
  </pc:docChgLst>
  <pc:docChgLst>
    <pc:chgData name="Anette Thonhaugen" userId="40fd5e2b-9cf3-4ddd-a823-4167acda6b3f" providerId="ADAL" clId="{2B6CA877-89E1-4E3E-9320-82682B7BCFD7}"/>
    <pc:docChg chg="undo custSel modSld">
      <pc:chgData name="Anette Thonhaugen" userId="40fd5e2b-9cf3-4ddd-a823-4167acda6b3f" providerId="ADAL" clId="{2B6CA877-89E1-4E3E-9320-82682B7BCFD7}" dt="2021-05-07T12:05:39.884" v="2309" actId="12"/>
      <pc:docMkLst>
        <pc:docMk/>
      </pc:docMkLst>
      <pc:sldChg chg="modNotesTx">
        <pc:chgData name="Anette Thonhaugen" userId="40fd5e2b-9cf3-4ddd-a823-4167acda6b3f" providerId="ADAL" clId="{2B6CA877-89E1-4E3E-9320-82682B7BCFD7}" dt="2021-04-23T09:04:01.078" v="0" actId="20577"/>
        <pc:sldMkLst>
          <pc:docMk/>
          <pc:sldMk cId="370410933" sldId="274"/>
        </pc:sldMkLst>
      </pc:sldChg>
      <pc:sldChg chg="modNotesTx">
        <pc:chgData name="Anette Thonhaugen" userId="40fd5e2b-9cf3-4ddd-a823-4167acda6b3f" providerId="ADAL" clId="{2B6CA877-89E1-4E3E-9320-82682B7BCFD7}" dt="2021-04-23T09:14:48.124" v="11" actId="20577"/>
        <pc:sldMkLst>
          <pc:docMk/>
          <pc:sldMk cId="3063063376" sldId="277"/>
        </pc:sldMkLst>
      </pc:sldChg>
      <pc:sldChg chg="modNotesTx">
        <pc:chgData name="Anette Thonhaugen" userId="40fd5e2b-9cf3-4ddd-a823-4167acda6b3f" providerId="ADAL" clId="{2B6CA877-89E1-4E3E-9320-82682B7BCFD7}" dt="2021-04-23T09:24:29.726" v="38" actId="20577"/>
        <pc:sldMkLst>
          <pc:docMk/>
          <pc:sldMk cId="3251362992" sldId="278"/>
        </pc:sldMkLst>
      </pc:sldChg>
      <pc:sldChg chg="modNotesTx">
        <pc:chgData name="Anette Thonhaugen" userId="40fd5e2b-9cf3-4ddd-a823-4167acda6b3f" providerId="ADAL" clId="{2B6CA877-89E1-4E3E-9320-82682B7BCFD7}" dt="2021-04-23T09:26:52.984" v="39" actId="20577"/>
        <pc:sldMkLst>
          <pc:docMk/>
          <pc:sldMk cId="2247752183" sldId="279"/>
        </pc:sldMkLst>
      </pc:sldChg>
      <pc:sldChg chg="modNotesTx">
        <pc:chgData name="Anette Thonhaugen" userId="40fd5e2b-9cf3-4ddd-a823-4167acda6b3f" providerId="ADAL" clId="{2B6CA877-89E1-4E3E-9320-82682B7BCFD7}" dt="2021-04-23T09:39:57.006" v="132" actId="20577"/>
        <pc:sldMkLst>
          <pc:docMk/>
          <pc:sldMk cId="2743620936" sldId="280"/>
        </pc:sldMkLst>
      </pc:sldChg>
      <pc:sldChg chg="modNotesTx">
        <pc:chgData name="Anette Thonhaugen" userId="40fd5e2b-9cf3-4ddd-a823-4167acda6b3f" providerId="ADAL" clId="{2B6CA877-89E1-4E3E-9320-82682B7BCFD7}" dt="2021-04-23T10:17:51.762" v="145" actId="20577"/>
        <pc:sldMkLst>
          <pc:docMk/>
          <pc:sldMk cId="628652379" sldId="281"/>
        </pc:sldMkLst>
      </pc:sldChg>
      <pc:sldChg chg="modNotesTx">
        <pc:chgData name="Anette Thonhaugen" userId="40fd5e2b-9cf3-4ddd-a823-4167acda6b3f" providerId="ADAL" clId="{2B6CA877-89E1-4E3E-9320-82682B7BCFD7}" dt="2021-04-23T10:24:07.688" v="237" actId="20577"/>
        <pc:sldMkLst>
          <pc:docMk/>
          <pc:sldMk cId="1523350470" sldId="283"/>
        </pc:sldMkLst>
      </pc:sldChg>
      <pc:sldChg chg="modNotesTx">
        <pc:chgData name="Anette Thonhaugen" userId="40fd5e2b-9cf3-4ddd-a823-4167acda6b3f" providerId="ADAL" clId="{2B6CA877-89E1-4E3E-9320-82682B7BCFD7}" dt="2021-04-29T11:53:47.902" v="413" actId="20577"/>
        <pc:sldMkLst>
          <pc:docMk/>
          <pc:sldMk cId="3462993812" sldId="284"/>
        </pc:sldMkLst>
      </pc:sldChg>
      <pc:sldChg chg="modNotesTx">
        <pc:chgData name="Anette Thonhaugen" userId="40fd5e2b-9cf3-4ddd-a823-4167acda6b3f" providerId="ADAL" clId="{2B6CA877-89E1-4E3E-9320-82682B7BCFD7}" dt="2021-04-29T11:58:24.144" v="427" actId="20577"/>
        <pc:sldMkLst>
          <pc:docMk/>
          <pc:sldMk cId="2994811991" sldId="285"/>
        </pc:sldMkLst>
      </pc:sldChg>
      <pc:sldChg chg="modNotesTx">
        <pc:chgData name="Anette Thonhaugen" userId="40fd5e2b-9cf3-4ddd-a823-4167acda6b3f" providerId="ADAL" clId="{2B6CA877-89E1-4E3E-9320-82682B7BCFD7}" dt="2021-04-29T12:06:38.593" v="437" actId="20577"/>
        <pc:sldMkLst>
          <pc:docMk/>
          <pc:sldMk cId="3451188360" sldId="287"/>
        </pc:sldMkLst>
      </pc:sldChg>
      <pc:sldChg chg="modNotesTx">
        <pc:chgData name="Anette Thonhaugen" userId="40fd5e2b-9cf3-4ddd-a823-4167acda6b3f" providerId="ADAL" clId="{2B6CA877-89E1-4E3E-9320-82682B7BCFD7}" dt="2021-04-29T12:02:04.132" v="433" actId="113"/>
        <pc:sldMkLst>
          <pc:docMk/>
          <pc:sldMk cId="652308430" sldId="288"/>
        </pc:sldMkLst>
      </pc:sldChg>
      <pc:sldChg chg="modNotesTx">
        <pc:chgData name="Anette Thonhaugen" userId="40fd5e2b-9cf3-4ddd-a823-4167acda6b3f" providerId="ADAL" clId="{2B6CA877-89E1-4E3E-9320-82682B7BCFD7}" dt="2021-04-29T12:11:48.612" v="565" actId="20577"/>
        <pc:sldMkLst>
          <pc:docMk/>
          <pc:sldMk cId="3852383013" sldId="289"/>
        </pc:sldMkLst>
      </pc:sldChg>
      <pc:sldChg chg="modNotesTx">
        <pc:chgData name="Anette Thonhaugen" userId="40fd5e2b-9cf3-4ddd-a823-4167acda6b3f" providerId="ADAL" clId="{2B6CA877-89E1-4E3E-9320-82682B7BCFD7}" dt="2021-04-29T12:12:39.962" v="566" actId="6549"/>
        <pc:sldMkLst>
          <pc:docMk/>
          <pc:sldMk cId="2584413510" sldId="291"/>
        </pc:sldMkLst>
      </pc:sldChg>
      <pc:sldChg chg="modNotesTx">
        <pc:chgData name="Anette Thonhaugen" userId="40fd5e2b-9cf3-4ddd-a823-4167acda6b3f" providerId="ADAL" clId="{2B6CA877-89E1-4E3E-9320-82682B7BCFD7}" dt="2021-04-29T12:11:11.575" v="478" actId="20577"/>
        <pc:sldMkLst>
          <pc:docMk/>
          <pc:sldMk cId="2787381860" sldId="292"/>
        </pc:sldMkLst>
      </pc:sldChg>
      <pc:sldChg chg="modNotesTx">
        <pc:chgData name="Anette Thonhaugen" userId="40fd5e2b-9cf3-4ddd-a823-4167acda6b3f" providerId="ADAL" clId="{2B6CA877-89E1-4E3E-9320-82682B7BCFD7}" dt="2021-04-29T12:15:43.570" v="569" actId="20577"/>
        <pc:sldMkLst>
          <pc:docMk/>
          <pc:sldMk cId="48104253" sldId="293"/>
        </pc:sldMkLst>
      </pc:sldChg>
      <pc:sldChg chg="modNotesTx">
        <pc:chgData name="Anette Thonhaugen" userId="40fd5e2b-9cf3-4ddd-a823-4167acda6b3f" providerId="ADAL" clId="{2B6CA877-89E1-4E3E-9320-82682B7BCFD7}" dt="2021-04-29T12:23:30.860" v="588" actId="20577"/>
        <pc:sldMkLst>
          <pc:docMk/>
          <pc:sldMk cId="2916795174" sldId="294"/>
        </pc:sldMkLst>
      </pc:sldChg>
      <pc:sldChg chg="modNotesTx">
        <pc:chgData name="Anette Thonhaugen" userId="40fd5e2b-9cf3-4ddd-a823-4167acda6b3f" providerId="ADAL" clId="{2B6CA877-89E1-4E3E-9320-82682B7BCFD7}" dt="2021-04-29T12:18:57.219" v="575" actId="20577"/>
        <pc:sldMkLst>
          <pc:docMk/>
          <pc:sldMk cId="766259836" sldId="296"/>
        </pc:sldMkLst>
      </pc:sldChg>
      <pc:sldChg chg="modNotesTx">
        <pc:chgData name="Anette Thonhaugen" userId="40fd5e2b-9cf3-4ddd-a823-4167acda6b3f" providerId="ADAL" clId="{2B6CA877-89E1-4E3E-9320-82682B7BCFD7}" dt="2021-05-07T09:51:38.938" v="2215" actId="20577"/>
        <pc:sldMkLst>
          <pc:docMk/>
          <pc:sldMk cId="1922535154" sldId="301"/>
        </pc:sldMkLst>
      </pc:sldChg>
      <pc:sldChg chg="modNotesTx">
        <pc:chgData name="Anette Thonhaugen" userId="40fd5e2b-9cf3-4ddd-a823-4167acda6b3f" providerId="ADAL" clId="{2B6CA877-89E1-4E3E-9320-82682B7BCFD7}" dt="2021-05-07T10:34:06.373" v="2301" actId="20577"/>
        <pc:sldMkLst>
          <pc:docMk/>
          <pc:sldMk cId="1722336554" sldId="302"/>
        </pc:sldMkLst>
      </pc:sldChg>
      <pc:sldChg chg="modNotesTx">
        <pc:chgData name="Anette Thonhaugen" userId="40fd5e2b-9cf3-4ddd-a823-4167acda6b3f" providerId="ADAL" clId="{2B6CA877-89E1-4E3E-9320-82682B7BCFD7}" dt="2021-04-29T13:02:56.267" v="826" actId="20577"/>
        <pc:sldMkLst>
          <pc:docMk/>
          <pc:sldMk cId="1179571501" sldId="303"/>
        </pc:sldMkLst>
      </pc:sldChg>
      <pc:sldChg chg="modNotesTx">
        <pc:chgData name="Anette Thonhaugen" userId="40fd5e2b-9cf3-4ddd-a823-4167acda6b3f" providerId="ADAL" clId="{2B6CA877-89E1-4E3E-9320-82682B7BCFD7}" dt="2021-04-29T13:05:43.515" v="830" actId="20577"/>
        <pc:sldMkLst>
          <pc:docMk/>
          <pc:sldMk cId="2186210215" sldId="304"/>
        </pc:sldMkLst>
      </pc:sldChg>
      <pc:sldChg chg="modNotesTx">
        <pc:chgData name="Anette Thonhaugen" userId="40fd5e2b-9cf3-4ddd-a823-4167acda6b3f" providerId="ADAL" clId="{2B6CA877-89E1-4E3E-9320-82682B7BCFD7}" dt="2021-04-29T13:19:00.614" v="1076" actId="20577"/>
        <pc:sldMkLst>
          <pc:docMk/>
          <pc:sldMk cId="3998591871" sldId="306"/>
        </pc:sldMkLst>
      </pc:sldChg>
      <pc:sldChg chg="modNotesTx">
        <pc:chgData name="Anette Thonhaugen" userId="40fd5e2b-9cf3-4ddd-a823-4167acda6b3f" providerId="ADAL" clId="{2B6CA877-89E1-4E3E-9320-82682B7BCFD7}" dt="2021-04-29T13:15:37.185" v="908" actId="6549"/>
        <pc:sldMkLst>
          <pc:docMk/>
          <pc:sldMk cId="1675188250" sldId="308"/>
        </pc:sldMkLst>
      </pc:sldChg>
      <pc:sldChg chg="modNotesTx">
        <pc:chgData name="Anette Thonhaugen" userId="40fd5e2b-9cf3-4ddd-a823-4167acda6b3f" providerId="ADAL" clId="{2B6CA877-89E1-4E3E-9320-82682B7BCFD7}" dt="2021-04-29T13:12:57.849" v="831" actId="20577"/>
        <pc:sldMkLst>
          <pc:docMk/>
          <pc:sldMk cId="3446498937" sldId="309"/>
        </pc:sldMkLst>
      </pc:sldChg>
      <pc:sldChg chg="modNotesTx">
        <pc:chgData name="Anette Thonhaugen" userId="40fd5e2b-9cf3-4ddd-a823-4167acda6b3f" providerId="ADAL" clId="{2B6CA877-89E1-4E3E-9320-82682B7BCFD7}" dt="2021-04-30T09:31:11.851" v="1127" actId="20577"/>
        <pc:sldMkLst>
          <pc:docMk/>
          <pc:sldMk cId="1005697514" sldId="310"/>
        </pc:sldMkLst>
      </pc:sldChg>
      <pc:sldChg chg="modNotesTx">
        <pc:chgData name="Anette Thonhaugen" userId="40fd5e2b-9cf3-4ddd-a823-4167acda6b3f" providerId="ADAL" clId="{2B6CA877-89E1-4E3E-9320-82682B7BCFD7}" dt="2021-04-30T09:35:42.887" v="1130" actId="20577"/>
        <pc:sldMkLst>
          <pc:docMk/>
          <pc:sldMk cId="3313979332" sldId="311"/>
        </pc:sldMkLst>
      </pc:sldChg>
      <pc:sldChg chg="modNotesTx">
        <pc:chgData name="Anette Thonhaugen" userId="40fd5e2b-9cf3-4ddd-a823-4167acda6b3f" providerId="ADAL" clId="{2B6CA877-89E1-4E3E-9320-82682B7BCFD7}" dt="2021-04-30T09:43:18.940" v="1289" actId="20577"/>
        <pc:sldMkLst>
          <pc:docMk/>
          <pc:sldMk cId="3266248139" sldId="312"/>
        </pc:sldMkLst>
      </pc:sldChg>
      <pc:sldChg chg="modNotesTx">
        <pc:chgData name="Anette Thonhaugen" userId="40fd5e2b-9cf3-4ddd-a823-4167acda6b3f" providerId="ADAL" clId="{2B6CA877-89E1-4E3E-9320-82682B7BCFD7}" dt="2021-04-30T09:41:33.281" v="1284" actId="6549"/>
        <pc:sldMkLst>
          <pc:docMk/>
          <pc:sldMk cId="1045327490" sldId="313"/>
        </pc:sldMkLst>
      </pc:sldChg>
      <pc:sldChg chg="modNotesTx">
        <pc:chgData name="Anette Thonhaugen" userId="40fd5e2b-9cf3-4ddd-a823-4167acda6b3f" providerId="ADAL" clId="{2B6CA877-89E1-4E3E-9320-82682B7BCFD7}" dt="2021-04-30T09:32:39.278" v="1129" actId="113"/>
        <pc:sldMkLst>
          <pc:docMk/>
          <pc:sldMk cId="351484033" sldId="314"/>
        </pc:sldMkLst>
      </pc:sldChg>
      <pc:sldChg chg="modNotes modNotesTx">
        <pc:chgData name="Anette Thonhaugen" userId="40fd5e2b-9cf3-4ddd-a823-4167acda6b3f" providerId="ADAL" clId="{2B6CA877-89E1-4E3E-9320-82682B7BCFD7}" dt="2021-04-30T10:08:19.021" v="1466" actId="27636"/>
        <pc:sldMkLst>
          <pc:docMk/>
          <pc:sldMk cId="3186755437" sldId="315"/>
        </pc:sldMkLst>
      </pc:sldChg>
      <pc:sldChg chg="modNotesTx">
        <pc:chgData name="Anette Thonhaugen" userId="40fd5e2b-9cf3-4ddd-a823-4167acda6b3f" providerId="ADAL" clId="{2B6CA877-89E1-4E3E-9320-82682B7BCFD7}" dt="2021-04-30T09:53:27.683" v="1404" actId="20577"/>
        <pc:sldMkLst>
          <pc:docMk/>
          <pc:sldMk cId="968056626" sldId="316"/>
        </pc:sldMkLst>
      </pc:sldChg>
      <pc:sldChg chg="modNotesTx">
        <pc:chgData name="Anette Thonhaugen" userId="40fd5e2b-9cf3-4ddd-a823-4167acda6b3f" providerId="ADAL" clId="{2B6CA877-89E1-4E3E-9320-82682B7BCFD7}" dt="2021-04-30T09:59:30.711" v="1415" actId="20577"/>
        <pc:sldMkLst>
          <pc:docMk/>
          <pc:sldMk cId="1608152977" sldId="317"/>
        </pc:sldMkLst>
      </pc:sldChg>
      <pc:sldChg chg="modNotes modNotesTx">
        <pc:chgData name="Anette Thonhaugen" userId="40fd5e2b-9cf3-4ddd-a823-4167acda6b3f" providerId="ADAL" clId="{2B6CA877-89E1-4E3E-9320-82682B7BCFD7}" dt="2021-04-30T10:17:02.024" v="1519" actId="113"/>
        <pc:sldMkLst>
          <pc:docMk/>
          <pc:sldMk cId="1451006646" sldId="320"/>
        </pc:sldMkLst>
      </pc:sldChg>
      <pc:sldChg chg="modNotesTx">
        <pc:chgData name="Anette Thonhaugen" userId="40fd5e2b-9cf3-4ddd-a823-4167acda6b3f" providerId="ADAL" clId="{2B6CA877-89E1-4E3E-9320-82682B7BCFD7}" dt="2021-04-30T10:10:44.089" v="1473" actId="20577"/>
        <pc:sldMkLst>
          <pc:docMk/>
          <pc:sldMk cId="2476016338" sldId="321"/>
        </pc:sldMkLst>
      </pc:sldChg>
      <pc:sldChg chg="modNotesTx">
        <pc:chgData name="Anette Thonhaugen" userId="40fd5e2b-9cf3-4ddd-a823-4167acda6b3f" providerId="ADAL" clId="{2B6CA877-89E1-4E3E-9320-82682B7BCFD7}" dt="2021-04-30T10:05:27.400" v="1445" actId="20577"/>
        <pc:sldMkLst>
          <pc:docMk/>
          <pc:sldMk cId="3251743826" sldId="324"/>
        </pc:sldMkLst>
      </pc:sldChg>
      <pc:sldChg chg="modNotesTx">
        <pc:chgData name="Anette Thonhaugen" userId="40fd5e2b-9cf3-4ddd-a823-4167acda6b3f" providerId="ADAL" clId="{2B6CA877-89E1-4E3E-9320-82682B7BCFD7}" dt="2021-05-03T11:16:09.739" v="2070" actId="20577"/>
        <pc:sldMkLst>
          <pc:docMk/>
          <pc:sldMk cId="1265835130" sldId="325"/>
        </pc:sldMkLst>
      </pc:sldChg>
      <pc:sldChg chg="modNotesTx">
        <pc:chgData name="Anette Thonhaugen" userId="40fd5e2b-9cf3-4ddd-a823-4167acda6b3f" providerId="ADAL" clId="{2B6CA877-89E1-4E3E-9320-82682B7BCFD7}" dt="2021-05-03T11:06:07.307" v="1754" actId="20577"/>
        <pc:sldMkLst>
          <pc:docMk/>
          <pc:sldMk cId="15792239" sldId="326"/>
        </pc:sldMkLst>
      </pc:sldChg>
      <pc:sldChg chg="modNotesTx">
        <pc:chgData name="Anette Thonhaugen" userId="40fd5e2b-9cf3-4ddd-a823-4167acda6b3f" providerId="ADAL" clId="{2B6CA877-89E1-4E3E-9320-82682B7BCFD7}" dt="2021-04-30T10:19:29.106" v="1546" actId="12"/>
        <pc:sldMkLst>
          <pc:docMk/>
          <pc:sldMk cId="4159285341" sldId="327"/>
        </pc:sldMkLst>
      </pc:sldChg>
      <pc:sldChg chg="modNotesTx">
        <pc:chgData name="Anette Thonhaugen" userId="40fd5e2b-9cf3-4ddd-a823-4167acda6b3f" providerId="ADAL" clId="{2B6CA877-89E1-4E3E-9320-82682B7BCFD7}" dt="2021-05-07T12:05:15.087" v="2307" actId="20577"/>
        <pc:sldMkLst>
          <pc:docMk/>
          <pc:sldMk cId="3181167643" sldId="328"/>
        </pc:sldMkLst>
      </pc:sldChg>
      <pc:sldChg chg="modNotes modNotesTx">
        <pc:chgData name="Anette Thonhaugen" userId="40fd5e2b-9cf3-4ddd-a823-4167acda6b3f" providerId="ADAL" clId="{2B6CA877-89E1-4E3E-9320-82682B7BCFD7}" dt="2021-05-03T11:22:19.131" v="2113" actId="20577"/>
        <pc:sldMkLst>
          <pc:docMk/>
          <pc:sldMk cId="3218187282" sldId="330"/>
        </pc:sldMkLst>
      </pc:sldChg>
      <pc:sldChg chg="modNotesTx">
        <pc:chgData name="Anette Thonhaugen" userId="40fd5e2b-9cf3-4ddd-a823-4167acda6b3f" providerId="ADAL" clId="{2B6CA877-89E1-4E3E-9320-82682B7BCFD7}" dt="2021-05-03T11:33:10.806" v="2189" actId="20577"/>
        <pc:sldMkLst>
          <pc:docMk/>
          <pc:sldMk cId="1012138025" sldId="331"/>
        </pc:sldMkLst>
      </pc:sldChg>
      <pc:sldChg chg="modNotesTx">
        <pc:chgData name="Anette Thonhaugen" userId="40fd5e2b-9cf3-4ddd-a823-4167acda6b3f" providerId="ADAL" clId="{2B6CA877-89E1-4E3E-9320-82682B7BCFD7}" dt="2021-05-07T12:05:39.884" v="2309" actId="12"/>
        <pc:sldMkLst>
          <pc:docMk/>
          <pc:sldMk cId="1649713979" sldId="332"/>
        </pc:sldMkLst>
      </pc:sldChg>
      <pc:sldChg chg="modNotesTx">
        <pc:chgData name="Anette Thonhaugen" userId="40fd5e2b-9cf3-4ddd-a823-4167acda6b3f" providerId="ADAL" clId="{2B6CA877-89E1-4E3E-9320-82682B7BCFD7}" dt="2021-05-03T11:34:29.243" v="2213" actId="20577"/>
        <pc:sldMkLst>
          <pc:docMk/>
          <pc:sldMk cId="2766376842" sldId="334"/>
        </pc:sldMkLst>
      </pc:sldChg>
      <pc:sldChg chg="modNotesTx">
        <pc:chgData name="Anette Thonhaugen" userId="40fd5e2b-9cf3-4ddd-a823-4167acda6b3f" providerId="ADAL" clId="{2B6CA877-89E1-4E3E-9320-82682B7BCFD7}" dt="2021-04-23T09:10:53.513" v="8" actId="20577"/>
        <pc:sldMkLst>
          <pc:docMk/>
          <pc:sldMk cId="2357664351" sldId="336"/>
        </pc:sldMkLst>
      </pc:sldChg>
    </pc:docChg>
  </pc:docChgLst>
  <pc:docChgLst>
    <pc:chgData name="Malin Andersen" userId="67895919-1e14-47ad-aa24-7fe5f76b678e" providerId="ADAL" clId="{D9618428-52A9-44AE-8323-260F2C130F8F}"/>
    <pc:docChg chg="undo custSel delSld modSld">
      <pc:chgData name="Malin Andersen" userId="67895919-1e14-47ad-aa24-7fe5f76b678e" providerId="ADAL" clId="{D9618428-52A9-44AE-8323-260F2C130F8F}" dt="2021-04-23T16:04:31.857" v="1990" actId="962"/>
      <pc:docMkLst>
        <pc:docMk/>
      </pc:docMkLst>
      <pc:sldChg chg="modNotesTx">
        <pc:chgData name="Malin Andersen" userId="67895919-1e14-47ad-aa24-7fe5f76b678e" providerId="ADAL" clId="{D9618428-52A9-44AE-8323-260F2C130F8F}" dt="2021-04-13T08:49:28.711" v="26" actId="20577"/>
        <pc:sldMkLst>
          <pc:docMk/>
          <pc:sldMk cId="370410933" sldId="274"/>
        </pc:sldMkLst>
      </pc:sldChg>
      <pc:sldChg chg="del">
        <pc:chgData name="Malin Andersen" userId="67895919-1e14-47ad-aa24-7fe5f76b678e" providerId="ADAL" clId="{D9618428-52A9-44AE-8323-260F2C130F8F}" dt="2021-04-16T10:49:27.795" v="815" actId="47"/>
        <pc:sldMkLst>
          <pc:docMk/>
          <pc:sldMk cId="4192402841" sldId="275"/>
        </pc:sldMkLst>
      </pc:sldChg>
      <pc:sldChg chg="addSp delSp modSp mod">
        <pc:chgData name="Malin Andersen" userId="67895919-1e14-47ad-aa24-7fe5f76b678e" providerId="ADAL" clId="{D9618428-52A9-44AE-8323-260F2C130F8F}" dt="2021-04-23T15:52:31.553" v="1674" actId="962"/>
        <pc:sldMkLst>
          <pc:docMk/>
          <pc:sldMk cId="3063063376" sldId="277"/>
        </pc:sldMkLst>
        <pc:spChg chg="del">
          <ac:chgData name="Malin Andersen" userId="67895919-1e14-47ad-aa24-7fe5f76b678e" providerId="ADAL" clId="{D9618428-52A9-44AE-8323-260F2C130F8F}" dt="2021-04-23T15:19:26.259" v="1380" actId="931"/>
          <ac:spMkLst>
            <pc:docMk/>
            <pc:sldMk cId="3063063376" sldId="277"/>
            <ac:spMk id="5" creationId="{47C08D98-2D58-4ADF-8696-2A4BC58C3E59}"/>
          </ac:spMkLst>
        </pc:spChg>
        <pc:picChg chg="add mod modCrop">
          <ac:chgData name="Malin Andersen" userId="67895919-1e14-47ad-aa24-7fe5f76b678e" providerId="ADAL" clId="{D9618428-52A9-44AE-8323-260F2C130F8F}" dt="2021-04-23T15:52:31.553" v="1674" actId="962"/>
          <ac:picMkLst>
            <pc:docMk/>
            <pc:sldMk cId="3063063376" sldId="277"/>
            <ac:picMk id="3" creationId="{8183DF24-D8DF-40FD-82EF-03F919C8631E}"/>
          </ac:picMkLst>
        </pc:picChg>
        <pc:picChg chg="del">
          <ac:chgData name="Malin Andersen" userId="67895919-1e14-47ad-aa24-7fe5f76b678e" providerId="ADAL" clId="{D9618428-52A9-44AE-8323-260F2C130F8F}" dt="2021-04-23T15:19:08.397" v="1379" actId="478"/>
          <ac:picMkLst>
            <pc:docMk/>
            <pc:sldMk cId="3063063376" sldId="277"/>
            <ac:picMk id="6" creationId="{2ABB1FCD-3330-46B3-83F5-CF04E84B95AD}"/>
          </ac:picMkLst>
        </pc:picChg>
      </pc:sldChg>
      <pc:sldChg chg="modSp mod">
        <pc:chgData name="Malin Andersen" userId="67895919-1e14-47ad-aa24-7fe5f76b678e" providerId="ADAL" clId="{D9618428-52A9-44AE-8323-260F2C130F8F}" dt="2021-04-23T15:25:39.671" v="1612" actId="962"/>
        <pc:sldMkLst>
          <pc:docMk/>
          <pc:sldMk cId="3251362992" sldId="278"/>
        </pc:sldMkLst>
        <pc:picChg chg="mod">
          <ac:chgData name="Malin Andersen" userId="67895919-1e14-47ad-aa24-7fe5f76b678e" providerId="ADAL" clId="{D9618428-52A9-44AE-8323-260F2C130F8F}" dt="2021-04-23T15:25:39.671" v="1612" actId="962"/>
          <ac:picMkLst>
            <pc:docMk/>
            <pc:sldMk cId="3251362992" sldId="278"/>
            <ac:picMk id="6" creationId="{673243DD-9EDD-4A9F-B84E-475D239B3F72}"/>
          </ac:picMkLst>
        </pc:picChg>
      </pc:sldChg>
      <pc:sldChg chg="addSp delSp modSp mod">
        <pc:chgData name="Malin Andersen" userId="67895919-1e14-47ad-aa24-7fe5f76b678e" providerId="ADAL" clId="{D9618428-52A9-44AE-8323-260F2C130F8F}" dt="2021-04-23T15:22:21.056" v="1513" actId="962"/>
        <pc:sldMkLst>
          <pc:docMk/>
          <pc:sldMk cId="1523350470" sldId="283"/>
        </pc:sldMkLst>
        <pc:spChg chg="del">
          <ac:chgData name="Malin Andersen" userId="67895919-1e14-47ad-aa24-7fe5f76b678e" providerId="ADAL" clId="{D9618428-52A9-44AE-8323-260F2C130F8F}" dt="2021-04-23T15:21:42.565" v="1415" actId="931"/>
          <ac:spMkLst>
            <pc:docMk/>
            <pc:sldMk cId="1523350470" sldId="283"/>
            <ac:spMk id="5" creationId="{47C08D98-2D58-4ADF-8696-2A4BC58C3E59}"/>
          </ac:spMkLst>
        </pc:spChg>
        <pc:picChg chg="add mod modCrop">
          <ac:chgData name="Malin Andersen" userId="67895919-1e14-47ad-aa24-7fe5f76b678e" providerId="ADAL" clId="{D9618428-52A9-44AE-8323-260F2C130F8F}" dt="2021-04-23T15:22:21.056" v="1513" actId="962"/>
          <ac:picMkLst>
            <pc:docMk/>
            <pc:sldMk cId="1523350470" sldId="283"/>
            <ac:picMk id="3" creationId="{ADEB8E17-9854-493B-9125-0AF80EAE9FE3}"/>
          </ac:picMkLst>
        </pc:picChg>
        <pc:picChg chg="del">
          <ac:chgData name="Malin Andersen" userId="67895919-1e14-47ad-aa24-7fe5f76b678e" providerId="ADAL" clId="{D9618428-52A9-44AE-8323-260F2C130F8F}" dt="2021-04-23T15:21:31.534" v="1412" actId="478"/>
          <ac:picMkLst>
            <pc:docMk/>
            <pc:sldMk cId="1523350470" sldId="283"/>
            <ac:picMk id="6" creationId="{2ABB1FCD-3330-46B3-83F5-CF04E84B95AD}"/>
          </ac:picMkLst>
        </pc:picChg>
        <pc:picChg chg="add del mod">
          <ac:chgData name="Malin Andersen" userId="67895919-1e14-47ad-aa24-7fe5f76b678e" providerId="ADAL" clId="{D9618428-52A9-44AE-8323-260F2C130F8F}" dt="2021-04-23T15:21:37.714" v="1414" actId="478"/>
          <ac:picMkLst>
            <pc:docMk/>
            <pc:sldMk cId="1523350470" sldId="283"/>
            <ac:picMk id="7" creationId="{DED07FED-70EC-4220-A1BF-28A89A0D461A}"/>
          </ac:picMkLst>
        </pc:picChg>
      </pc:sldChg>
      <pc:sldChg chg="modNotesTx">
        <pc:chgData name="Malin Andersen" userId="67895919-1e14-47ad-aa24-7fe5f76b678e" providerId="ADAL" clId="{D9618428-52A9-44AE-8323-260F2C130F8F}" dt="2021-04-14T14:36:23.792" v="192" actId="113"/>
        <pc:sldMkLst>
          <pc:docMk/>
          <pc:sldMk cId="638997338" sldId="286"/>
        </pc:sldMkLst>
      </pc:sldChg>
      <pc:sldChg chg="modNotes modNotesTx">
        <pc:chgData name="Malin Andersen" userId="67895919-1e14-47ad-aa24-7fe5f76b678e" providerId="ADAL" clId="{D9618428-52A9-44AE-8323-260F2C130F8F}" dt="2021-04-14T14:35:10.770" v="190" actId="27636"/>
        <pc:sldMkLst>
          <pc:docMk/>
          <pc:sldMk cId="3451188360" sldId="287"/>
        </pc:sldMkLst>
      </pc:sldChg>
      <pc:sldChg chg="modNotesTx">
        <pc:chgData name="Malin Andersen" userId="67895919-1e14-47ad-aa24-7fe5f76b678e" providerId="ADAL" clId="{D9618428-52A9-44AE-8323-260F2C130F8F}" dt="2021-04-14T14:50:14.164" v="203" actId="20577"/>
        <pc:sldMkLst>
          <pc:docMk/>
          <pc:sldMk cId="3852383013" sldId="289"/>
        </pc:sldMkLst>
      </pc:sldChg>
      <pc:sldChg chg="modNotesTx">
        <pc:chgData name="Malin Andersen" userId="67895919-1e14-47ad-aa24-7fe5f76b678e" providerId="ADAL" clId="{D9618428-52A9-44AE-8323-260F2C130F8F}" dt="2021-04-14T14:37:12.091" v="193" actId="13926"/>
        <pc:sldMkLst>
          <pc:docMk/>
          <pc:sldMk cId="1101962370" sldId="290"/>
        </pc:sldMkLst>
      </pc:sldChg>
      <pc:sldChg chg="modNotes modNotesTx">
        <pc:chgData name="Malin Andersen" userId="67895919-1e14-47ad-aa24-7fe5f76b678e" providerId="ADAL" clId="{D9618428-52A9-44AE-8323-260F2C130F8F}" dt="2021-04-14T14:51:49.902" v="214" actId="113"/>
        <pc:sldMkLst>
          <pc:docMk/>
          <pc:sldMk cId="2584413510" sldId="291"/>
        </pc:sldMkLst>
      </pc:sldChg>
      <pc:sldChg chg="addSp delSp modSp mod modNotesTx">
        <pc:chgData name="Malin Andersen" userId="67895919-1e14-47ad-aa24-7fe5f76b678e" providerId="ADAL" clId="{D9618428-52A9-44AE-8323-260F2C130F8F}" dt="2021-04-19T18:17:43.136" v="1071" actId="962"/>
        <pc:sldMkLst>
          <pc:docMk/>
          <pc:sldMk cId="2787381860" sldId="292"/>
        </pc:sldMkLst>
        <pc:spChg chg="add del mod">
          <ac:chgData name="Malin Andersen" userId="67895919-1e14-47ad-aa24-7fe5f76b678e" providerId="ADAL" clId="{D9618428-52A9-44AE-8323-260F2C130F8F}" dt="2021-04-19T18:17:23.995" v="999" actId="931"/>
          <ac:spMkLst>
            <pc:docMk/>
            <pc:sldMk cId="2787381860" sldId="292"/>
            <ac:spMk id="7" creationId="{26568749-02C7-462D-9E28-B81EB6201676}"/>
          </ac:spMkLst>
        </pc:spChg>
        <pc:picChg chg="add del mod">
          <ac:chgData name="Malin Andersen" userId="67895919-1e14-47ad-aa24-7fe5f76b678e" providerId="ADAL" clId="{D9618428-52A9-44AE-8323-260F2C130F8F}" dt="2021-04-19T18:17:17.291" v="998" actId="478"/>
          <ac:picMkLst>
            <pc:docMk/>
            <pc:sldMk cId="2787381860" sldId="292"/>
            <ac:picMk id="4" creationId="{F3FF0126-CA5A-4B55-95F7-293D274864F7}"/>
          </ac:picMkLst>
        </pc:picChg>
        <pc:picChg chg="del">
          <ac:chgData name="Malin Andersen" userId="67895919-1e14-47ad-aa24-7fe5f76b678e" providerId="ADAL" clId="{D9618428-52A9-44AE-8323-260F2C130F8F}" dt="2021-04-19T18:17:14.956" v="997" actId="478"/>
          <ac:picMkLst>
            <pc:docMk/>
            <pc:sldMk cId="2787381860" sldId="292"/>
            <ac:picMk id="8" creationId="{03B553DC-F4B6-491E-8916-E5A512B1741F}"/>
          </ac:picMkLst>
        </pc:picChg>
        <pc:picChg chg="add mod">
          <ac:chgData name="Malin Andersen" userId="67895919-1e14-47ad-aa24-7fe5f76b678e" providerId="ADAL" clId="{D9618428-52A9-44AE-8323-260F2C130F8F}" dt="2021-04-19T18:17:43.136" v="1071" actId="962"/>
          <ac:picMkLst>
            <pc:docMk/>
            <pc:sldMk cId="2787381860" sldId="292"/>
            <ac:picMk id="10" creationId="{7A5EDD96-D68F-4761-A8F9-977D5FC753D6}"/>
          </ac:picMkLst>
        </pc:picChg>
      </pc:sldChg>
      <pc:sldChg chg="modSp">
        <pc:chgData name="Malin Andersen" userId="67895919-1e14-47ad-aa24-7fe5f76b678e" providerId="ADAL" clId="{D9618428-52A9-44AE-8323-260F2C130F8F}" dt="2021-04-23T15:57:50.466" v="1846" actId="13244"/>
        <pc:sldMkLst>
          <pc:docMk/>
          <pc:sldMk cId="48104253" sldId="293"/>
        </pc:sldMkLst>
        <pc:spChg chg="mod">
          <ac:chgData name="Malin Andersen" userId="67895919-1e14-47ad-aa24-7fe5f76b678e" providerId="ADAL" clId="{D9618428-52A9-44AE-8323-260F2C130F8F}" dt="2021-04-23T15:57:50.466" v="1846" actId="13244"/>
          <ac:spMkLst>
            <pc:docMk/>
            <pc:sldMk cId="48104253" sldId="293"/>
            <ac:spMk id="5" creationId="{36E122EE-1302-49D8-8C69-3D7BBEDD7121}"/>
          </ac:spMkLst>
        </pc:spChg>
      </pc:sldChg>
      <pc:sldChg chg="modNotesTx">
        <pc:chgData name="Malin Andersen" userId="67895919-1e14-47ad-aa24-7fe5f76b678e" providerId="ADAL" clId="{D9618428-52A9-44AE-8323-260F2C130F8F}" dt="2021-04-15T09:56:08.388" v="218" actId="113"/>
        <pc:sldMkLst>
          <pc:docMk/>
          <pc:sldMk cId="2916795174" sldId="294"/>
        </pc:sldMkLst>
      </pc:sldChg>
      <pc:sldChg chg="modSp">
        <pc:chgData name="Malin Andersen" userId="67895919-1e14-47ad-aa24-7fe5f76b678e" providerId="ADAL" clId="{D9618428-52A9-44AE-8323-260F2C130F8F}" dt="2021-04-23T15:57:58.321" v="1848" actId="13244"/>
        <pc:sldMkLst>
          <pc:docMk/>
          <pc:sldMk cId="3289061853" sldId="295"/>
        </pc:sldMkLst>
        <pc:spChg chg="mod">
          <ac:chgData name="Malin Andersen" userId="67895919-1e14-47ad-aa24-7fe5f76b678e" providerId="ADAL" clId="{D9618428-52A9-44AE-8323-260F2C130F8F}" dt="2021-04-23T15:57:58.321" v="1848" actId="13244"/>
          <ac:spMkLst>
            <pc:docMk/>
            <pc:sldMk cId="3289061853" sldId="295"/>
            <ac:spMk id="5" creationId="{50EA7DF8-495B-4CBF-8A21-ADCF3F9D9E6B}"/>
          </ac:spMkLst>
        </pc:spChg>
      </pc:sldChg>
      <pc:sldChg chg="modSp">
        <pc:chgData name="Malin Andersen" userId="67895919-1e14-47ad-aa24-7fe5f76b678e" providerId="ADAL" clId="{D9618428-52A9-44AE-8323-260F2C130F8F}" dt="2021-04-23T15:58:20.123" v="1849" actId="13244"/>
        <pc:sldMkLst>
          <pc:docMk/>
          <pc:sldMk cId="766259836" sldId="296"/>
        </pc:sldMkLst>
        <pc:spChg chg="mod">
          <ac:chgData name="Malin Andersen" userId="67895919-1e14-47ad-aa24-7fe5f76b678e" providerId="ADAL" clId="{D9618428-52A9-44AE-8323-260F2C130F8F}" dt="2021-04-23T15:58:20.123" v="1849" actId="13244"/>
          <ac:spMkLst>
            <pc:docMk/>
            <pc:sldMk cId="766259836" sldId="296"/>
            <ac:spMk id="3" creationId="{FC4DCFEA-A8E6-4B7E-AD75-17F7A6457948}"/>
          </ac:spMkLst>
        </pc:spChg>
      </pc:sldChg>
      <pc:sldChg chg="modNotesTx">
        <pc:chgData name="Malin Andersen" userId="67895919-1e14-47ad-aa24-7fe5f76b678e" providerId="ADAL" clId="{D9618428-52A9-44AE-8323-260F2C130F8F}" dt="2021-04-15T09:57:42.575" v="219" actId="12"/>
        <pc:sldMkLst>
          <pc:docMk/>
          <pc:sldMk cId="2681028383" sldId="297"/>
        </pc:sldMkLst>
      </pc:sldChg>
      <pc:sldChg chg="addSp delSp modSp mod modNotesTx">
        <pc:chgData name="Malin Andersen" userId="67895919-1e14-47ad-aa24-7fe5f76b678e" providerId="ADAL" clId="{D9618428-52A9-44AE-8323-260F2C130F8F}" dt="2021-04-19T10:04:05.107" v="857" actId="255"/>
        <pc:sldMkLst>
          <pc:docMk/>
          <pc:sldMk cId="1147951495" sldId="299"/>
        </pc:sldMkLst>
        <pc:spChg chg="mod">
          <ac:chgData name="Malin Andersen" userId="67895919-1e14-47ad-aa24-7fe5f76b678e" providerId="ADAL" clId="{D9618428-52A9-44AE-8323-260F2C130F8F}" dt="2021-04-19T10:04:05.107" v="857" actId="255"/>
          <ac:spMkLst>
            <pc:docMk/>
            <pc:sldMk cId="1147951495" sldId="299"/>
            <ac:spMk id="3" creationId="{8343E431-9B5F-40B8-AF5E-9DE05B50BE6C}"/>
          </ac:spMkLst>
        </pc:spChg>
        <pc:spChg chg="add del mod">
          <ac:chgData name="Malin Andersen" userId="67895919-1e14-47ad-aa24-7fe5f76b678e" providerId="ADAL" clId="{D9618428-52A9-44AE-8323-260F2C130F8F}" dt="2021-04-15T13:07:22.592" v="223" actId="931"/>
          <ac:spMkLst>
            <pc:docMk/>
            <pc:sldMk cId="1147951495" sldId="299"/>
            <ac:spMk id="7" creationId="{D7492A62-C2D5-458B-BECE-2548FD04ACE5}"/>
          </ac:spMkLst>
        </pc:spChg>
        <pc:picChg chg="add del mod">
          <ac:chgData name="Malin Andersen" userId="67895919-1e14-47ad-aa24-7fe5f76b678e" providerId="ADAL" clId="{D9618428-52A9-44AE-8323-260F2C130F8F}" dt="2021-04-15T13:07:10.410" v="222" actId="478"/>
          <ac:picMkLst>
            <pc:docMk/>
            <pc:sldMk cId="1147951495" sldId="299"/>
            <ac:picMk id="4" creationId="{B8DE1E75-3A2D-42D8-B738-CBF50537AF30}"/>
          </ac:picMkLst>
        </pc:picChg>
        <pc:picChg chg="del">
          <ac:chgData name="Malin Andersen" userId="67895919-1e14-47ad-aa24-7fe5f76b678e" providerId="ADAL" clId="{D9618428-52A9-44AE-8323-260F2C130F8F}" dt="2021-04-15T13:07:08.530" v="221" actId="478"/>
          <ac:picMkLst>
            <pc:docMk/>
            <pc:sldMk cId="1147951495" sldId="299"/>
            <ac:picMk id="5" creationId="{0D95B56A-9364-4297-B58B-58A1775DC5E5}"/>
          </ac:picMkLst>
        </pc:picChg>
        <pc:picChg chg="add mod">
          <ac:chgData name="Malin Andersen" userId="67895919-1e14-47ad-aa24-7fe5f76b678e" providerId="ADAL" clId="{D9618428-52A9-44AE-8323-260F2C130F8F}" dt="2021-04-15T13:07:41.882" v="301" actId="962"/>
          <ac:picMkLst>
            <pc:docMk/>
            <pc:sldMk cId="1147951495" sldId="299"/>
            <ac:picMk id="9" creationId="{D383668C-BA55-4012-8120-4C80B1616698}"/>
          </ac:picMkLst>
        </pc:picChg>
      </pc:sldChg>
      <pc:sldChg chg="modNotesTx">
        <pc:chgData name="Malin Andersen" userId="67895919-1e14-47ad-aa24-7fe5f76b678e" providerId="ADAL" clId="{D9618428-52A9-44AE-8323-260F2C130F8F}" dt="2021-04-15T13:45:37.610" v="307" actId="12"/>
        <pc:sldMkLst>
          <pc:docMk/>
          <pc:sldMk cId="1922535154" sldId="301"/>
        </pc:sldMkLst>
      </pc:sldChg>
      <pc:sldChg chg="modSp mod modNotes modNotesTx">
        <pc:chgData name="Malin Andersen" userId="67895919-1e14-47ad-aa24-7fe5f76b678e" providerId="ADAL" clId="{D9618428-52A9-44AE-8323-260F2C130F8F}" dt="2021-04-23T15:59:12.880" v="1884" actId="962"/>
        <pc:sldMkLst>
          <pc:docMk/>
          <pc:sldMk cId="1722336554" sldId="302"/>
        </pc:sldMkLst>
        <pc:spChg chg="mod">
          <ac:chgData name="Malin Andersen" userId="67895919-1e14-47ad-aa24-7fe5f76b678e" providerId="ADAL" clId="{D9618428-52A9-44AE-8323-260F2C130F8F}" dt="2021-04-23T15:59:03.232" v="1850" actId="13244"/>
          <ac:spMkLst>
            <pc:docMk/>
            <pc:sldMk cId="1722336554" sldId="302"/>
            <ac:spMk id="3" creationId="{1CF10554-0306-4BEB-8F72-FB9F7409F2B0}"/>
          </ac:spMkLst>
        </pc:spChg>
        <pc:picChg chg="mod">
          <ac:chgData name="Malin Andersen" userId="67895919-1e14-47ad-aa24-7fe5f76b678e" providerId="ADAL" clId="{D9618428-52A9-44AE-8323-260F2C130F8F}" dt="2021-04-23T15:59:12.880" v="1884" actId="962"/>
          <ac:picMkLst>
            <pc:docMk/>
            <pc:sldMk cId="1722336554" sldId="302"/>
            <ac:picMk id="5" creationId="{7BD151D9-2845-41C8-8B09-6C2511BE8E9A}"/>
          </ac:picMkLst>
        </pc:picChg>
      </pc:sldChg>
      <pc:sldChg chg="modSp mod modNotesTx">
        <pc:chgData name="Malin Andersen" userId="67895919-1e14-47ad-aa24-7fe5f76b678e" providerId="ADAL" clId="{D9618428-52A9-44AE-8323-260F2C130F8F}" dt="2021-04-19T10:05:18.319" v="887" actId="20577"/>
        <pc:sldMkLst>
          <pc:docMk/>
          <pc:sldMk cId="1179571501" sldId="303"/>
        </pc:sldMkLst>
        <pc:spChg chg="mod">
          <ac:chgData name="Malin Andersen" userId="67895919-1e14-47ad-aa24-7fe5f76b678e" providerId="ADAL" clId="{D9618428-52A9-44AE-8323-260F2C130F8F}" dt="2021-04-19T10:03:46.066" v="856" actId="255"/>
          <ac:spMkLst>
            <pc:docMk/>
            <pc:sldMk cId="1179571501" sldId="303"/>
            <ac:spMk id="3" creationId="{3C6B590E-85B2-41AB-B05E-E4DBE6B21EF7}"/>
          </ac:spMkLst>
        </pc:spChg>
      </pc:sldChg>
      <pc:sldChg chg="modNotesTx">
        <pc:chgData name="Malin Andersen" userId="67895919-1e14-47ad-aa24-7fe5f76b678e" providerId="ADAL" clId="{D9618428-52A9-44AE-8323-260F2C130F8F}" dt="2021-04-15T17:58:21.825" v="399" actId="113"/>
        <pc:sldMkLst>
          <pc:docMk/>
          <pc:sldMk cId="2098680163" sldId="305"/>
        </pc:sldMkLst>
      </pc:sldChg>
      <pc:sldChg chg="modSp modNotesTx">
        <pc:chgData name="Malin Andersen" userId="67895919-1e14-47ad-aa24-7fe5f76b678e" providerId="ADAL" clId="{D9618428-52A9-44AE-8323-260F2C130F8F}" dt="2021-04-23T16:00:08.663" v="1888" actId="13244"/>
        <pc:sldMkLst>
          <pc:docMk/>
          <pc:sldMk cId="3998591871" sldId="306"/>
        </pc:sldMkLst>
        <pc:spChg chg="mod">
          <ac:chgData name="Malin Andersen" userId="67895919-1e14-47ad-aa24-7fe5f76b678e" providerId="ADAL" clId="{D9618428-52A9-44AE-8323-260F2C130F8F}" dt="2021-04-23T16:00:08.663" v="1888" actId="13244"/>
          <ac:spMkLst>
            <pc:docMk/>
            <pc:sldMk cId="3998591871" sldId="306"/>
            <ac:spMk id="3" creationId="{86F3C8A3-F06A-4186-8103-1CEC5803AB35}"/>
          </ac:spMkLst>
        </pc:spChg>
      </pc:sldChg>
      <pc:sldChg chg="modSp mod modNotesTx">
        <pc:chgData name="Malin Andersen" userId="67895919-1e14-47ad-aa24-7fe5f76b678e" providerId="ADAL" clId="{D9618428-52A9-44AE-8323-260F2C130F8F}" dt="2021-04-23T15:59:33.895" v="1885" actId="13244"/>
        <pc:sldMkLst>
          <pc:docMk/>
          <pc:sldMk cId="398834938" sldId="307"/>
        </pc:sldMkLst>
        <pc:spChg chg="mod">
          <ac:chgData name="Malin Andersen" userId="67895919-1e14-47ad-aa24-7fe5f76b678e" providerId="ADAL" clId="{D9618428-52A9-44AE-8323-260F2C130F8F}" dt="2021-04-23T15:59:33.895" v="1885" actId="13244"/>
          <ac:spMkLst>
            <pc:docMk/>
            <pc:sldMk cId="398834938" sldId="307"/>
            <ac:spMk id="3" creationId="{2A391B9A-D403-4F84-A463-D81DCE462A18}"/>
          </ac:spMkLst>
        </pc:spChg>
      </pc:sldChg>
      <pc:sldChg chg="modSp">
        <pc:chgData name="Malin Andersen" userId="67895919-1e14-47ad-aa24-7fe5f76b678e" providerId="ADAL" clId="{D9618428-52A9-44AE-8323-260F2C130F8F}" dt="2021-04-23T15:59:55.593" v="1887" actId="13244"/>
        <pc:sldMkLst>
          <pc:docMk/>
          <pc:sldMk cId="3446498937" sldId="309"/>
        </pc:sldMkLst>
        <pc:spChg chg="mod">
          <ac:chgData name="Malin Andersen" userId="67895919-1e14-47ad-aa24-7fe5f76b678e" providerId="ADAL" clId="{D9618428-52A9-44AE-8323-260F2C130F8F}" dt="2021-04-23T15:59:55.593" v="1887" actId="13244"/>
          <ac:spMkLst>
            <pc:docMk/>
            <pc:sldMk cId="3446498937" sldId="309"/>
            <ac:spMk id="4" creationId="{C59B76D8-771E-421C-8919-7A8B0AB08D3B}"/>
          </ac:spMkLst>
        </pc:spChg>
      </pc:sldChg>
      <pc:sldChg chg="modSp">
        <pc:chgData name="Malin Andersen" userId="67895919-1e14-47ad-aa24-7fe5f76b678e" providerId="ADAL" clId="{D9618428-52A9-44AE-8323-260F2C130F8F}" dt="2021-04-23T16:00:20.975" v="1890" actId="13244"/>
        <pc:sldMkLst>
          <pc:docMk/>
          <pc:sldMk cId="1005697514" sldId="310"/>
        </pc:sldMkLst>
        <pc:spChg chg="mod">
          <ac:chgData name="Malin Andersen" userId="67895919-1e14-47ad-aa24-7fe5f76b678e" providerId="ADAL" clId="{D9618428-52A9-44AE-8323-260F2C130F8F}" dt="2021-04-23T16:00:17.355" v="1889" actId="13244"/>
          <ac:spMkLst>
            <pc:docMk/>
            <pc:sldMk cId="1005697514" sldId="310"/>
            <ac:spMk id="4" creationId="{40C51948-F89C-4CF4-96C7-F3895CA4C983}"/>
          </ac:spMkLst>
        </pc:spChg>
        <pc:picChg chg="mod">
          <ac:chgData name="Malin Andersen" userId="67895919-1e14-47ad-aa24-7fe5f76b678e" providerId="ADAL" clId="{D9618428-52A9-44AE-8323-260F2C130F8F}" dt="2021-04-23T16:00:20.975" v="1890" actId="13244"/>
          <ac:picMkLst>
            <pc:docMk/>
            <pc:sldMk cId="1005697514" sldId="310"/>
            <ac:picMk id="7" creationId="{1F6C43BF-8BE8-4B85-B955-B7CB97EE1402}"/>
          </ac:picMkLst>
        </pc:picChg>
      </pc:sldChg>
      <pc:sldChg chg="modNotes modNotesTx">
        <pc:chgData name="Malin Andersen" userId="67895919-1e14-47ad-aa24-7fe5f76b678e" providerId="ADAL" clId="{D9618428-52A9-44AE-8323-260F2C130F8F}" dt="2021-04-13T08:56:35.353" v="51" actId="6549"/>
        <pc:sldMkLst>
          <pc:docMk/>
          <pc:sldMk cId="3313979332" sldId="311"/>
        </pc:sldMkLst>
      </pc:sldChg>
      <pc:sldChg chg="modSp mod modNotes modNotesTx">
        <pc:chgData name="Malin Andersen" userId="67895919-1e14-47ad-aa24-7fe5f76b678e" providerId="ADAL" clId="{D9618428-52A9-44AE-8323-260F2C130F8F}" dt="2021-04-13T09:08:34.801" v="77" actId="6549"/>
        <pc:sldMkLst>
          <pc:docMk/>
          <pc:sldMk cId="1045327490" sldId="313"/>
        </pc:sldMkLst>
        <pc:spChg chg="mod">
          <ac:chgData name="Malin Andersen" userId="67895919-1e14-47ad-aa24-7fe5f76b678e" providerId="ADAL" clId="{D9618428-52A9-44AE-8323-260F2C130F8F}" dt="2021-04-13T08:57:17.665" v="57" actId="20577"/>
          <ac:spMkLst>
            <pc:docMk/>
            <pc:sldMk cId="1045327490" sldId="313"/>
            <ac:spMk id="3" creationId="{ECB4A004-AE1A-4FB2-BFFA-C0C197343F80}"/>
          </ac:spMkLst>
        </pc:spChg>
      </pc:sldChg>
      <pc:sldChg chg="modNotesTx">
        <pc:chgData name="Malin Andersen" userId="67895919-1e14-47ad-aa24-7fe5f76b678e" providerId="ADAL" clId="{D9618428-52A9-44AE-8323-260F2C130F8F}" dt="2021-04-15T18:26:00.217" v="405" actId="6549"/>
        <pc:sldMkLst>
          <pc:docMk/>
          <pc:sldMk cId="351484033" sldId="314"/>
        </pc:sldMkLst>
      </pc:sldChg>
      <pc:sldChg chg="modNotes modNotesTx">
        <pc:chgData name="Malin Andersen" userId="67895919-1e14-47ad-aa24-7fe5f76b678e" providerId="ADAL" clId="{D9618428-52A9-44AE-8323-260F2C130F8F}" dt="2021-04-13T21:35:43.022" v="117" actId="113"/>
        <pc:sldMkLst>
          <pc:docMk/>
          <pc:sldMk cId="3186755437" sldId="315"/>
        </pc:sldMkLst>
      </pc:sldChg>
      <pc:sldChg chg="modSp mod modNotes modNotesTx">
        <pc:chgData name="Malin Andersen" userId="67895919-1e14-47ad-aa24-7fe5f76b678e" providerId="ADAL" clId="{D9618428-52A9-44AE-8323-260F2C130F8F}" dt="2021-04-23T16:01:34.292" v="1897" actId="1037"/>
        <pc:sldMkLst>
          <pc:docMk/>
          <pc:sldMk cId="968056626" sldId="316"/>
        </pc:sldMkLst>
        <pc:picChg chg="mod">
          <ac:chgData name="Malin Andersen" userId="67895919-1e14-47ad-aa24-7fe5f76b678e" providerId="ADAL" clId="{D9618428-52A9-44AE-8323-260F2C130F8F}" dt="2021-04-23T16:01:34.292" v="1897" actId="1037"/>
          <ac:picMkLst>
            <pc:docMk/>
            <pc:sldMk cId="968056626" sldId="316"/>
            <ac:picMk id="5" creationId="{FE543C16-CAEF-4453-879C-0978682ECD6E}"/>
          </ac:picMkLst>
        </pc:picChg>
      </pc:sldChg>
      <pc:sldChg chg="modNotes modNotesTx">
        <pc:chgData name="Malin Andersen" userId="67895919-1e14-47ad-aa24-7fe5f76b678e" providerId="ADAL" clId="{D9618428-52A9-44AE-8323-260F2C130F8F}" dt="2021-04-13T20:00:57.605" v="107" actId="113"/>
        <pc:sldMkLst>
          <pc:docMk/>
          <pc:sldMk cId="1608152977" sldId="317"/>
        </pc:sldMkLst>
      </pc:sldChg>
      <pc:sldChg chg="modNotesTx">
        <pc:chgData name="Malin Andersen" userId="67895919-1e14-47ad-aa24-7fe5f76b678e" providerId="ADAL" clId="{D9618428-52A9-44AE-8323-260F2C130F8F}" dt="2021-04-13T20:01:45.874" v="111" actId="6549"/>
        <pc:sldMkLst>
          <pc:docMk/>
          <pc:sldMk cId="4094060261" sldId="318"/>
        </pc:sldMkLst>
      </pc:sldChg>
      <pc:sldChg chg="addSp delSp modSp mod modNotesTx">
        <pc:chgData name="Malin Andersen" userId="67895919-1e14-47ad-aa24-7fe5f76b678e" providerId="ADAL" clId="{D9618428-52A9-44AE-8323-260F2C130F8F}" dt="2021-04-19T20:59:07.210" v="1378" actId="962"/>
        <pc:sldMkLst>
          <pc:docMk/>
          <pc:sldMk cId="886173640" sldId="322"/>
        </pc:sldMkLst>
        <pc:spChg chg="del">
          <ac:chgData name="Malin Andersen" userId="67895919-1e14-47ad-aa24-7fe5f76b678e" providerId="ADAL" clId="{D9618428-52A9-44AE-8323-260F2C130F8F}" dt="2021-04-15T18:27:48.205" v="406"/>
          <ac:spMkLst>
            <pc:docMk/>
            <pc:sldMk cId="886173640" sldId="322"/>
            <ac:spMk id="2" creationId="{02A1031F-6E33-479E-B2DF-47C76C0BB823}"/>
          </ac:spMkLst>
        </pc:spChg>
        <pc:spChg chg="mod">
          <ac:chgData name="Malin Andersen" userId="67895919-1e14-47ad-aa24-7fe5f76b678e" providerId="ADAL" clId="{D9618428-52A9-44AE-8323-260F2C130F8F}" dt="2021-04-15T18:28:03.291" v="419" actId="20577"/>
          <ac:spMkLst>
            <pc:docMk/>
            <pc:sldMk cId="886173640" sldId="322"/>
            <ac:spMk id="3" creationId="{AA7CBD6F-68F2-4259-917F-CA88FEF20830}"/>
          </ac:spMkLst>
        </pc:spChg>
        <pc:spChg chg="add del mod">
          <ac:chgData name="Malin Andersen" userId="67895919-1e14-47ad-aa24-7fe5f76b678e" providerId="ADAL" clId="{D9618428-52A9-44AE-8323-260F2C130F8F}" dt="2021-04-19T18:59:08.239" v="1073" actId="931"/>
          <ac:spMkLst>
            <pc:docMk/>
            <pc:sldMk cId="886173640" sldId="322"/>
            <ac:spMk id="4" creationId="{63EC8503-D7FA-4FE8-8C2B-DC9FF3C1A043}"/>
          </ac:spMkLst>
        </pc:spChg>
        <pc:spChg chg="add del mod">
          <ac:chgData name="Malin Andersen" userId="67895919-1e14-47ad-aa24-7fe5f76b678e" providerId="ADAL" clId="{D9618428-52A9-44AE-8323-260F2C130F8F}" dt="2021-04-16T15:15:23.536" v="843" actId="931"/>
          <ac:spMkLst>
            <pc:docMk/>
            <pc:sldMk cId="886173640" sldId="322"/>
            <ac:spMk id="4" creationId="{B3A70C9A-9582-40BB-90B8-0770885D1A84}"/>
          </ac:spMkLst>
        </pc:spChg>
        <pc:spChg chg="add del mod">
          <ac:chgData name="Malin Andersen" userId="67895919-1e14-47ad-aa24-7fe5f76b678e" providerId="ADAL" clId="{D9618428-52A9-44AE-8323-260F2C130F8F}" dt="2021-04-19T20:56:28.825" v="1212" actId="931"/>
          <ac:spMkLst>
            <pc:docMk/>
            <pc:sldMk cId="886173640" sldId="322"/>
            <ac:spMk id="9" creationId="{72DDB1D6-8CBC-4565-8DBE-D7D7E7BA914B}"/>
          </ac:spMkLst>
        </pc:spChg>
        <pc:picChg chg="add del mod">
          <ac:chgData name="Malin Andersen" userId="67895919-1e14-47ad-aa24-7fe5f76b678e" providerId="ADAL" clId="{D9618428-52A9-44AE-8323-260F2C130F8F}" dt="2021-04-19T18:59:01.935" v="1072" actId="478"/>
          <ac:picMkLst>
            <pc:docMk/>
            <pc:sldMk cId="886173640" sldId="322"/>
            <ac:picMk id="5" creationId="{FCBBFD57-1ADB-4609-8A0C-487477C0EBF7}"/>
          </ac:picMkLst>
        </pc:picChg>
        <pc:picChg chg="add del mod">
          <ac:chgData name="Malin Andersen" userId="67895919-1e14-47ad-aa24-7fe5f76b678e" providerId="ADAL" clId="{D9618428-52A9-44AE-8323-260F2C130F8F}" dt="2021-04-19T20:56:19.009" v="1211" actId="478"/>
          <ac:picMkLst>
            <pc:docMk/>
            <pc:sldMk cId="886173640" sldId="322"/>
            <ac:picMk id="7" creationId="{7FB925EC-E5A0-45E5-A0CC-5467CEACBC71}"/>
          </ac:picMkLst>
        </pc:picChg>
        <pc:picChg chg="add mod">
          <ac:chgData name="Malin Andersen" userId="67895919-1e14-47ad-aa24-7fe5f76b678e" providerId="ADAL" clId="{D9618428-52A9-44AE-8323-260F2C130F8F}" dt="2021-04-19T20:59:07.210" v="1378" actId="962"/>
          <ac:picMkLst>
            <pc:docMk/>
            <pc:sldMk cId="886173640" sldId="322"/>
            <ac:picMk id="11" creationId="{8316C3CA-F5AF-4FEC-9B79-31369CA0BC4D}"/>
          </ac:picMkLst>
        </pc:picChg>
      </pc:sldChg>
      <pc:sldChg chg="modSp mod modNotes modNotesTx">
        <pc:chgData name="Malin Andersen" userId="67895919-1e14-47ad-aa24-7fe5f76b678e" providerId="ADAL" clId="{D9618428-52A9-44AE-8323-260F2C130F8F}" dt="2021-04-13T21:39:15.793" v="188" actId="12"/>
        <pc:sldMkLst>
          <pc:docMk/>
          <pc:sldMk cId="2276116555" sldId="323"/>
        </pc:sldMkLst>
        <pc:spChg chg="mod">
          <ac:chgData name="Malin Andersen" userId="67895919-1e14-47ad-aa24-7fe5f76b678e" providerId="ADAL" clId="{D9618428-52A9-44AE-8323-260F2C130F8F}" dt="2021-04-13T21:36:49.354" v="142" actId="20577"/>
          <ac:spMkLst>
            <pc:docMk/>
            <pc:sldMk cId="2276116555" sldId="323"/>
            <ac:spMk id="3" creationId="{AA7CBD6F-68F2-4259-917F-CA88FEF20830}"/>
          </ac:spMkLst>
        </pc:spChg>
      </pc:sldChg>
      <pc:sldChg chg="modSp mod modNotesTx">
        <pc:chgData name="Malin Andersen" userId="67895919-1e14-47ad-aa24-7fe5f76b678e" providerId="ADAL" clId="{D9618428-52A9-44AE-8323-260F2C130F8F}" dt="2021-04-23T16:02:16.394" v="1899" actId="1076"/>
        <pc:sldMkLst>
          <pc:docMk/>
          <pc:sldMk cId="3251743826" sldId="324"/>
        </pc:sldMkLst>
        <pc:spChg chg="mod">
          <ac:chgData name="Malin Andersen" userId="67895919-1e14-47ad-aa24-7fe5f76b678e" providerId="ADAL" clId="{D9618428-52A9-44AE-8323-260F2C130F8F}" dt="2021-04-23T16:02:14.655" v="1898" actId="13244"/>
          <ac:spMkLst>
            <pc:docMk/>
            <pc:sldMk cId="3251743826" sldId="324"/>
            <ac:spMk id="3" creationId="{86F3C8A3-F06A-4186-8103-1CEC5803AB35}"/>
          </ac:spMkLst>
        </pc:spChg>
        <pc:picChg chg="mod">
          <ac:chgData name="Malin Andersen" userId="67895919-1e14-47ad-aa24-7fe5f76b678e" providerId="ADAL" clId="{D9618428-52A9-44AE-8323-260F2C130F8F}" dt="2021-04-23T16:02:16.394" v="1899" actId="1076"/>
          <ac:picMkLst>
            <pc:docMk/>
            <pc:sldMk cId="3251743826" sldId="324"/>
            <ac:picMk id="5" creationId="{C8ABED0A-C561-4BDB-8CBA-736632F12AFC}"/>
          </ac:picMkLst>
        </pc:picChg>
      </pc:sldChg>
      <pc:sldChg chg="addSp delSp modSp mod modNotes modNotesTx">
        <pc:chgData name="Malin Andersen" userId="67895919-1e14-47ad-aa24-7fe5f76b678e" providerId="ADAL" clId="{D9618428-52A9-44AE-8323-260F2C130F8F}" dt="2021-04-23T16:04:09.516" v="1978" actId="962"/>
        <pc:sldMkLst>
          <pc:docMk/>
          <pc:sldMk cId="1265835130" sldId="325"/>
        </pc:sldMkLst>
        <pc:spChg chg="mod">
          <ac:chgData name="Malin Andersen" userId="67895919-1e14-47ad-aa24-7fe5f76b678e" providerId="ADAL" clId="{D9618428-52A9-44AE-8323-260F2C130F8F}" dt="2021-04-19T12:34:44.587" v="995" actId="20577"/>
          <ac:spMkLst>
            <pc:docMk/>
            <pc:sldMk cId="1265835130" sldId="325"/>
            <ac:spMk id="3" creationId="{AA7CBD6F-68F2-4259-917F-CA88FEF20830}"/>
          </ac:spMkLst>
        </pc:spChg>
        <pc:spChg chg="add del mod">
          <ac:chgData name="Malin Andersen" userId="67895919-1e14-47ad-aa24-7fe5f76b678e" providerId="ADAL" clId="{D9618428-52A9-44AE-8323-260F2C130F8F}" dt="2021-04-23T16:03:32.212" v="1901" actId="931"/>
          <ac:spMkLst>
            <pc:docMk/>
            <pc:sldMk cId="1265835130" sldId="325"/>
            <ac:spMk id="4" creationId="{E70514A5-5E88-45D5-8DC7-32E57C4BD66B}"/>
          </ac:spMkLst>
        </pc:spChg>
        <pc:picChg chg="del">
          <ac:chgData name="Malin Andersen" userId="67895919-1e14-47ad-aa24-7fe5f76b678e" providerId="ADAL" clId="{D9618428-52A9-44AE-8323-260F2C130F8F}" dt="2021-04-23T16:03:21.268" v="1900" actId="478"/>
          <ac:picMkLst>
            <pc:docMk/>
            <pc:sldMk cId="1265835130" sldId="325"/>
            <ac:picMk id="5" creationId="{B7056352-4C45-441F-92EA-F67891BAF125}"/>
          </ac:picMkLst>
        </pc:picChg>
        <pc:picChg chg="add mod">
          <ac:chgData name="Malin Andersen" userId="67895919-1e14-47ad-aa24-7fe5f76b678e" providerId="ADAL" clId="{D9618428-52A9-44AE-8323-260F2C130F8F}" dt="2021-04-23T16:04:09.516" v="1978" actId="962"/>
          <ac:picMkLst>
            <pc:docMk/>
            <pc:sldMk cId="1265835130" sldId="325"/>
            <ac:picMk id="7" creationId="{E5148D09-7867-45C4-A880-252BC353516B}"/>
          </ac:picMkLst>
        </pc:picChg>
      </pc:sldChg>
      <pc:sldChg chg="modNotes modNotesTx">
        <pc:chgData name="Malin Andersen" userId="67895919-1e14-47ad-aa24-7fe5f76b678e" providerId="ADAL" clId="{D9618428-52A9-44AE-8323-260F2C130F8F}" dt="2021-04-19T12:20:03.833" v="980" actId="6549"/>
        <pc:sldMkLst>
          <pc:docMk/>
          <pc:sldMk cId="15792239" sldId="326"/>
        </pc:sldMkLst>
      </pc:sldChg>
      <pc:sldChg chg="modNotesTx">
        <pc:chgData name="Malin Andersen" userId="67895919-1e14-47ad-aa24-7fe5f76b678e" providerId="ADAL" clId="{D9618428-52A9-44AE-8323-260F2C130F8F}" dt="2021-04-15T19:43:52.067" v="455" actId="15"/>
        <pc:sldMkLst>
          <pc:docMk/>
          <pc:sldMk cId="4159285341" sldId="327"/>
        </pc:sldMkLst>
      </pc:sldChg>
      <pc:sldChg chg="modNotesTx">
        <pc:chgData name="Malin Andersen" userId="67895919-1e14-47ad-aa24-7fe5f76b678e" providerId="ADAL" clId="{D9618428-52A9-44AE-8323-260F2C130F8F}" dt="2021-04-15T20:03:46.784" v="786" actId="12"/>
        <pc:sldMkLst>
          <pc:docMk/>
          <pc:sldMk cId="3181167643" sldId="328"/>
        </pc:sldMkLst>
      </pc:sldChg>
      <pc:sldChg chg="modSp mod modNotesTx">
        <pc:chgData name="Malin Andersen" userId="67895919-1e14-47ad-aa24-7fe5f76b678e" providerId="ADAL" clId="{D9618428-52A9-44AE-8323-260F2C130F8F}" dt="2021-04-23T16:04:31.857" v="1990" actId="962"/>
        <pc:sldMkLst>
          <pc:docMk/>
          <pc:sldMk cId="700524313" sldId="329"/>
        </pc:sldMkLst>
        <pc:picChg chg="mod">
          <ac:chgData name="Malin Andersen" userId="67895919-1e14-47ad-aa24-7fe5f76b678e" providerId="ADAL" clId="{D9618428-52A9-44AE-8323-260F2C130F8F}" dt="2021-04-23T16:04:31.857" v="1990" actId="962"/>
          <ac:picMkLst>
            <pc:docMk/>
            <pc:sldMk cId="700524313" sldId="329"/>
            <ac:picMk id="10" creationId="{0CD121AC-A602-4F1B-A6A2-AFDA5E026A53}"/>
          </ac:picMkLst>
        </pc:picChg>
      </pc:sldChg>
      <pc:sldChg chg="modNotesTx">
        <pc:chgData name="Malin Andersen" userId="67895919-1e14-47ad-aa24-7fe5f76b678e" providerId="ADAL" clId="{D9618428-52A9-44AE-8323-260F2C130F8F}" dt="2021-04-15T20:06:00.508" v="798" actId="6549"/>
        <pc:sldMkLst>
          <pc:docMk/>
          <pc:sldMk cId="1012138025" sldId="331"/>
        </pc:sldMkLst>
      </pc:sldChg>
      <pc:sldChg chg="modSp mod modNotes modNotesTx">
        <pc:chgData name="Malin Andersen" userId="67895919-1e14-47ad-aa24-7fe5f76b678e" providerId="ADAL" clId="{D9618428-52A9-44AE-8323-260F2C130F8F}" dt="2021-04-23T15:53:24.954" v="1845" actId="962"/>
        <pc:sldMkLst>
          <pc:docMk/>
          <pc:sldMk cId="1649713979" sldId="332"/>
        </pc:sldMkLst>
        <pc:picChg chg="mod">
          <ac:chgData name="Malin Andersen" userId="67895919-1e14-47ad-aa24-7fe5f76b678e" providerId="ADAL" clId="{D9618428-52A9-44AE-8323-260F2C130F8F}" dt="2021-04-23T15:53:24.954" v="1845" actId="962"/>
          <ac:picMkLst>
            <pc:docMk/>
            <pc:sldMk cId="1649713979" sldId="332"/>
            <ac:picMk id="5" creationId="{9655162D-96DF-46C1-A513-EC9040972E52}"/>
          </ac:picMkLst>
        </pc:picChg>
      </pc:sldChg>
      <pc:sldChg chg="del">
        <pc:chgData name="Malin Andersen" userId="67895919-1e14-47ad-aa24-7fe5f76b678e" providerId="ADAL" clId="{D9618428-52A9-44AE-8323-260F2C130F8F}" dt="2021-04-15T20:08:18.711" v="814" actId="47"/>
        <pc:sldMkLst>
          <pc:docMk/>
          <pc:sldMk cId="1836871684" sldId="333"/>
        </pc:sldMkLst>
      </pc:sldChg>
      <pc:sldChg chg="modNotesTx">
        <pc:chgData name="Malin Andersen" userId="67895919-1e14-47ad-aa24-7fe5f76b678e" providerId="ADAL" clId="{D9618428-52A9-44AE-8323-260F2C130F8F}" dt="2021-04-15T20:06:58.899" v="801" actId="113"/>
        <pc:sldMkLst>
          <pc:docMk/>
          <pc:sldMk cId="2766376842" sldId="334"/>
        </pc:sldMkLst>
      </pc:sldChg>
      <pc:sldChg chg="modSp mod modNotesTx">
        <pc:chgData name="Malin Andersen" userId="67895919-1e14-47ad-aa24-7fe5f76b678e" providerId="ADAL" clId="{D9618428-52A9-44AE-8323-260F2C130F8F}" dt="2021-04-23T15:24:55.976" v="1572" actId="962"/>
        <pc:sldMkLst>
          <pc:docMk/>
          <pc:sldMk cId="2357664351" sldId="336"/>
        </pc:sldMkLst>
        <pc:picChg chg="mod">
          <ac:chgData name="Malin Andersen" userId="67895919-1e14-47ad-aa24-7fe5f76b678e" providerId="ADAL" clId="{D9618428-52A9-44AE-8323-260F2C130F8F}" dt="2021-04-23T15:24:55.976" v="1572" actId="962"/>
          <ac:picMkLst>
            <pc:docMk/>
            <pc:sldMk cId="2357664351" sldId="336"/>
            <ac:picMk id="9" creationId="{BEE2753B-14E3-4428-8D37-C95B43F89829}"/>
          </ac:picMkLst>
        </pc:picChg>
      </pc:sldChg>
      <pc:sldChg chg="modSp mod modNotesTx">
        <pc:chgData name="Malin Andersen" userId="67895919-1e14-47ad-aa24-7fe5f76b678e" providerId="ADAL" clId="{D9618428-52A9-44AE-8323-260F2C130F8F}" dt="2021-04-23T15:52:46.535" v="1731" actId="962"/>
        <pc:sldMkLst>
          <pc:docMk/>
          <pc:sldMk cId="2239747903" sldId="337"/>
        </pc:sldMkLst>
        <pc:spChg chg="mod">
          <ac:chgData name="Malin Andersen" userId="67895919-1e14-47ad-aa24-7fe5f76b678e" providerId="ADAL" clId="{D9618428-52A9-44AE-8323-260F2C130F8F}" dt="2021-04-15T20:07:50.681" v="811" actId="20577"/>
          <ac:spMkLst>
            <pc:docMk/>
            <pc:sldMk cId="2239747903" sldId="337"/>
            <ac:spMk id="4" creationId="{8A506740-1EE5-4EF8-A9E8-34D21E04966B}"/>
          </ac:spMkLst>
        </pc:spChg>
        <pc:picChg chg="mod">
          <ac:chgData name="Malin Andersen" userId="67895919-1e14-47ad-aa24-7fe5f76b678e" providerId="ADAL" clId="{D9618428-52A9-44AE-8323-260F2C130F8F}" dt="2021-04-23T15:52:46.535" v="1731" actId="962"/>
          <ac:picMkLst>
            <pc:docMk/>
            <pc:sldMk cId="2239747903" sldId="337"/>
            <ac:picMk id="9" creationId="{BEE2753B-14E3-4428-8D37-C95B43F89829}"/>
          </ac:picMkLst>
        </pc:picChg>
      </pc:sldChg>
    </pc:docChg>
  </pc:docChgLst>
  <pc:docChgLst>
    <pc:chgData name="Malin Andersen" userId="67895919-1e14-47ad-aa24-7fe5f76b678e" providerId="ADAL" clId="{1BA3736D-9A0C-48C7-8AD2-75DBB62A2D08}"/>
    <pc:docChg chg="undo redo custSel addSld delSld modSld modMainMaster">
      <pc:chgData name="Malin Andersen" userId="67895919-1e14-47ad-aa24-7fe5f76b678e" providerId="ADAL" clId="{1BA3736D-9A0C-48C7-8AD2-75DBB62A2D08}" dt="2020-11-13T22:10:08.076" v="421"/>
      <pc:docMkLst>
        <pc:docMk/>
      </pc:docMkLst>
      <pc:sldChg chg="modSp">
        <pc:chgData name="Malin Andersen" userId="67895919-1e14-47ad-aa24-7fe5f76b678e" providerId="ADAL" clId="{1BA3736D-9A0C-48C7-8AD2-75DBB62A2D08}" dt="2020-11-13T19:01:53.929" v="50" actId="20577"/>
        <pc:sldMkLst>
          <pc:docMk/>
          <pc:sldMk cId="370410933" sldId="274"/>
        </pc:sldMkLst>
        <pc:spChg chg="mod">
          <ac:chgData name="Malin Andersen" userId="67895919-1e14-47ad-aa24-7fe5f76b678e" providerId="ADAL" clId="{1BA3736D-9A0C-48C7-8AD2-75DBB62A2D08}" dt="2020-11-13T19:01:44.840" v="12" actId="20577"/>
          <ac:spMkLst>
            <pc:docMk/>
            <pc:sldMk cId="370410933" sldId="274"/>
            <ac:spMk id="4" creationId="{2DD087DC-943D-4062-AA23-7FDCCD89BCF1}"/>
          </ac:spMkLst>
        </pc:spChg>
        <pc:spChg chg="mod">
          <ac:chgData name="Malin Andersen" userId="67895919-1e14-47ad-aa24-7fe5f76b678e" providerId="ADAL" clId="{1BA3736D-9A0C-48C7-8AD2-75DBB62A2D08}" dt="2020-11-13T19:01:53.929" v="50" actId="20577"/>
          <ac:spMkLst>
            <pc:docMk/>
            <pc:sldMk cId="370410933" sldId="274"/>
            <ac:spMk id="5" creationId="{C5297E47-9A0C-4A9E-A3D2-81DBD95B5955}"/>
          </ac:spMkLst>
        </pc:spChg>
      </pc:sldChg>
      <pc:sldChg chg="addSp delSp modSp modNotesTx">
        <pc:chgData name="Malin Andersen" userId="67895919-1e14-47ad-aa24-7fe5f76b678e" providerId="ADAL" clId="{1BA3736D-9A0C-48C7-8AD2-75DBB62A2D08}" dt="2020-11-13T21:17:39.742" v="113" actId="20577"/>
        <pc:sldMkLst>
          <pc:docMk/>
          <pc:sldMk cId="4192402841" sldId="275"/>
        </pc:sldMkLst>
        <pc:spChg chg="mod">
          <ac:chgData name="Malin Andersen" userId="67895919-1e14-47ad-aa24-7fe5f76b678e" providerId="ADAL" clId="{1BA3736D-9A0C-48C7-8AD2-75DBB62A2D08}" dt="2020-11-13T20:01:12.817" v="90" actId="20577"/>
          <ac:spMkLst>
            <pc:docMk/>
            <pc:sldMk cId="4192402841" sldId="275"/>
            <ac:spMk id="4" creationId="{8A506740-1EE5-4EF8-A9E8-34D21E04966B}"/>
          </ac:spMkLst>
        </pc:spChg>
        <pc:spChg chg="del">
          <ac:chgData name="Malin Andersen" userId="67895919-1e14-47ad-aa24-7fe5f76b678e" providerId="ADAL" clId="{1BA3736D-9A0C-48C7-8AD2-75DBB62A2D08}" dt="2020-11-13T19:56:53.248" v="66" actId="931"/>
          <ac:spMkLst>
            <pc:docMk/>
            <pc:sldMk cId="4192402841" sldId="275"/>
            <ac:spMk id="5" creationId="{D9133472-B525-481A-862E-27FA8B22E8B0}"/>
          </ac:spMkLst>
        </pc:spChg>
        <pc:spChg chg="add del mod">
          <ac:chgData name="Malin Andersen" userId="67895919-1e14-47ad-aa24-7fe5f76b678e" providerId="ADAL" clId="{1BA3736D-9A0C-48C7-8AD2-75DBB62A2D08}" dt="2020-11-13T20:01:55.001" v="94" actId="931"/>
          <ac:spMkLst>
            <pc:docMk/>
            <pc:sldMk cId="4192402841" sldId="275"/>
            <ac:spMk id="9" creationId="{28371B69-9A96-45B5-A7D7-66385FA72464}"/>
          </ac:spMkLst>
        </pc:spChg>
        <pc:spChg chg="add del mod">
          <ac:chgData name="Malin Andersen" userId="67895919-1e14-47ad-aa24-7fe5f76b678e" providerId="ADAL" clId="{1BA3736D-9A0C-48C7-8AD2-75DBB62A2D08}" dt="2020-11-13T20:02:00.330" v="96" actId="478"/>
          <ac:spMkLst>
            <pc:docMk/>
            <pc:sldMk cId="4192402841" sldId="275"/>
            <ac:spMk id="15" creationId="{0E698946-74B9-4287-8CA4-51E834953E60}"/>
          </ac:spMkLst>
        </pc:spChg>
        <pc:picChg chg="add del mod">
          <ac:chgData name="Malin Andersen" userId="67895919-1e14-47ad-aa24-7fe5f76b678e" providerId="ADAL" clId="{1BA3736D-9A0C-48C7-8AD2-75DBB62A2D08}" dt="2020-11-13T20:01:14.817" v="91" actId="478"/>
          <ac:picMkLst>
            <pc:docMk/>
            <pc:sldMk cId="4192402841" sldId="275"/>
            <ac:picMk id="7" creationId="{AB82863A-6FC5-41A5-9F7A-91CA3A71041D}"/>
          </ac:picMkLst>
        </pc:picChg>
        <pc:picChg chg="add del mod">
          <ac:chgData name="Malin Andersen" userId="67895919-1e14-47ad-aa24-7fe5f76b678e" providerId="ADAL" clId="{1BA3736D-9A0C-48C7-8AD2-75DBB62A2D08}" dt="2020-11-13T20:01:33.634" v="93" actId="931"/>
          <ac:picMkLst>
            <pc:docMk/>
            <pc:sldMk cId="4192402841" sldId="275"/>
            <ac:picMk id="11" creationId="{69FAE7E9-B8CD-43C4-A250-739E2E74398F}"/>
          </ac:picMkLst>
        </pc:picChg>
        <pc:picChg chg="add del mod">
          <ac:chgData name="Malin Andersen" userId="67895919-1e14-47ad-aa24-7fe5f76b678e" providerId="ADAL" clId="{1BA3736D-9A0C-48C7-8AD2-75DBB62A2D08}" dt="2020-11-13T20:01:57.611" v="95" actId="478"/>
          <ac:picMkLst>
            <pc:docMk/>
            <pc:sldMk cId="4192402841" sldId="275"/>
            <ac:picMk id="13" creationId="{66FA5ADA-F736-4079-88D8-22EF8D3D74CC}"/>
          </ac:picMkLst>
        </pc:picChg>
        <pc:picChg chg="add mod modCrop">
          <ac:chgData name="Malin Andersen" userId="67895919-1e14-47ad-aa24-7fe5f76b678e" providerId="ADAL" clId="{1BA3736D-9A0C-48C7-8AD2-75DBB62A2D08}" dt="2020-11-13T20:03:52.729" v="107" actId="732"/>
          <ac:picMkLst>
            <pc:docMk/>
            <pc:sldMk cId="4192402841" sldId="275"/>
            <ac:picMk id="17" creationId="{6FF53B3C-8E30-4A4C-87F2-CBB6247275EA}"/>
          </ac:picMkLst>
        </pc:picChg>
      </pc:sldChg>
      <pc:sldChg chg="del">
        <pc:chgData name="Malin Andersen" userId="67895919-1e14-47ad-aa24-7fe5f76b678e" providerId="ADAL" clId="{1BA3736D-9A0C-48C7-8AD2-75DBB62A2D08}" dt="2020-11-13T19:06:02.636" v="51" actId="2696"/>
        <pc:sldMkLst>
          <pc:docMk/>
          <pc:sldMk cId="465038659" sldId="276"/>
        </pc:sldMkLst>
      </pc:sldChg>
      <pc:sldChg chg="addSp delSp modSp add del">
        <pc:chgData name="Malin Andersen" userId="67895919-1e14-47ad-aa24-7fe5f76b678e" providerId="ADAL" clId="{1BA3736D-9A0C-48C7-8AD2-75DBB62A2D08}" dt="2020-11-13T19:07:24.630" v="65" actId="2696"/>
        <pc:sldMkLst>
          <pc:docMk/>
          <pc:sldMk cId="651191290" sldId="276"/>
        </pc:sldMkLst>
        <pc:spChg chg="del">
          <ac:chgData name="Malin Andersen" userId="67895919-1e14-47ad-aa24-7fe5f76b678e" providerId="ADAL" clId="{1BA3736D-9A0C-48C7-8AD2-75DBB62A2D08}" dt="2020-11-13T19:07:02.937" v="60"/>
          <ac:spMkLst>
            <pc:docMk/>
            <pc:sldMk cId="651191290" sldId="276"/>
            <ac:spMk id="2" creationId="{F2C4F13F-B039-4ED8-8F85-FBB0DC56AE4C}"/>
          </ac:spMkLst>
        </pc:spChg>
        <pc:spChg chg="del">
          <ac:chgData name="Malin Andersen" userId="67895919-1e14-47ad-aa24-7fe5f76b678e" providerId="ADAL" clId="{1BA3736D-9A0C-48C7-8AD2-75DBB62A2D08}" dt="2020-11-13T19:07:02.937" v="60"/>
          <ac:spMkLst>
            <pc:docMk/>
            <pc:sldMk cId="651191290" sldId="276"/>
            <ac:spMk id="3" creationId="{80C7AD17-5756-436D-A2E2-25D27A68199D}"/>
          </ac:spMkLst>
        </pc:spChg>
        <pc:spChg chg="add mod">
          <ac:chgData name="Malin Andersen" userId="67895919-1e14-47ad-aa24-7fe5f76b678e" providerId="ADAL" clId="{1BA3736D-9A0C-48C7-8AD2-75DBB62A2D08}" dt="2020-11-13T19:07:05.692" v="64" actId="20577"/>
          <ac:spMkLst>
            <pc:docMk/>
            <pc:sldMk cId="651191290" sldId="276"/>
            <ac:spMk id="4" creationId="{F126408B-4BF8-4A5F-99E7-F1C81112F54D}"/>
          </ac:spMkLst>
        </pc:spChg>
        <pc:spChg chg="add mod">
          <ac:chgData name="Malin Andersen" userId="67895919-1e14-47ad-aa24-7fe5f76b678e" providerId="ADAL" clId="{1BA3736D-9A0C-48C7-8AD2-75DBB62A2D08}" dt="2020-11-13T19:07:02.937" v="60"/>
          <ac:spMkLst>
            <pc:docMk/>
            <pc:sldMk cId="651191290" sldId="276"/>
            <ac:spMk id="5" creationId="{54B21B4D-BA4C-49EC-97B8-C2CF6D26C58E}"/>
          </ac:spMkLst>
        </pc:spChg>
      </pc:sldChg>
      <pc:sldChg chg="addSp delSp modSp add modNotesTx">
        <pc:chgData name="Malin Andersen" userId="67895919-1e14-47ad-aa24-7fe5f76b678e" providerId="ADAL" clId="{1BA3736D-9A0C-48C7-8AD2-75DBB62A2D08}" dt="2020-11-13T21:20:22.031" v="134" actId="1076"/>
        <pc:sldMkLst>
          <pc:docMk/>
          <pc:sldMk cId="2927447702" sldId="276"/>
        </pc:sldMkLst>
        <pc:spChg chg="del">
          <ac:chgData name="Malin Andersen" userId="67895919-1e14-47ad-aa24-7fe5f76b678e" providerId="ADAL" clId="{1BA3736D-9A0C-48C7-8AD2-75DBB62A2D08}" dt="2020-11-13T21:18:25.700" v="116"/>
          <ac:spMkLst>
            <pc:docMk/>
            <pc:sldMk cId="2927447702" sldId="276"/>
            <ac:spMk id="2" creationId="{9ADB0A67-7F08-4C8A-BB3A-9FA47ADB06A8}"/>
          </ac:spMkLst>
        </pc:spChg>
        <pc:spChg chg="del">
          <ac:chgData name="Malin Andersen" userId="67895919-1e14-47ad-aa24-7fe5f76b678e" providerId="ADAL" clId="{1BA3736D-9A0C-48C7-8AD2-75DBB62A2D08}" dt="2020-11-13T21:18:25.700" v="116"/>
          <ac:spMkLst>
            <pc:docMk/>
            <pc:sldMk cId="2927447702" sldId="276"/>
            <ac:spMk id="3" creationId="{D6C75AC5-281B-49CB-AFE3-C767567C5F08}"/>
          </ac:spMkLst>
        </pc:spChg>
        <pc:spChg chg="add mod">
          <ac:chgData name="Malin Andersen" userId="67895919-1e14-47ad-aa24-7fe5f76b678e" providerId="ADAL" clId="{1BA3736D-9A0C-48C7-8AD2-75DBB62A2D08}" dt="2020-11-13T21:20:22.031" v="134" actId="1076"/>
          <ac:spMkLst>
            <pc:docMk/>
            <pc:sldMk cId="2927447702" sldId="276"/>
            <ac:spMk id="4" creationId="{78EB0F59-CB35-4457-8E0D-DDDEF634D08A}"/>
          </ac:spMkLst>
        </pc:spChg>
        <pc:spChg chg="add del mod">
          <ac:chgData name="Malin Andersen" userId="67895919-1e14-47ad-aa24-7fe5f76b678e" providerId="ADAL" clId="{1BA3736D-9A0C-48C7-8AD2-75DBB62A2D08}" dt="2020-11-13T21:19:14.883" v="117" actId="931"/>
          <ac:spMkLst>
            <pc:docMk/>
            <pc:sldMk cId="2927447702" sldId="276"/>
            <ac:spMk id="5" creationId="{4ACB2FB8-A9A9-459D-8832-12198EC6554E}"/>
          </ac:spMkLst>
        </pc:spChg>
        <pc:picChg chg="add mod">
          <ac:chgData name="Malin Andersen" userId="67895919-1e14-47ad-aa24-7fe5f76b678e" providerId="ADAL" clId="{1BA3736D-9A0C-48C7-8AD2-75DBB62A2D08}" dt="2020-11-13T21:19:14.883" v="117" actId="931"/>
          <ac:picMkLst>
            <pc:docMk/>
            <pc:sldMk cId="2927447702" sldId="276"/>
            <ac:picMk id="7" creationId="{FADDF899-25C3-4FB2-847E-77B340596A1C}"/>
          </ac:picMkLst>
        </pc:picChg>
      </pc:sldChg>
      <pc:sldChg chg="del">
        <pc:chgData name="Malin Andersen" userId="67895919-1e14-47ad-aa24-7fe5f76b678e" providerId="ADAL" clId="{1BA3736D-9A0C-48C7-8AD2-75DBB62A2D08}" dt="2020-11-13T19:06:03.789" v="52" actId="2696"/>
        <pc:sldMkLst>
          <pc:docMk/>
          <pc:sldMk cId="370315404" sldId="277"/>
        </pc:sldMkLst>
      </pc:sldChg>
      <pc:sldChg chg="addSp delSp modSp add modNotesTx">
        <pc:chgData name="Malin Andersen" userId="67895919-1e14-47ad-aa24-7fe5f76b678e" providerId="ADAL" clId="{1BA3736D-9A0C-48C7-8AD2-75DBB62A2D08}" dt="2020-11-13T22:04:01.138" v="376" actId="255"/>
        <pc:sldMkLst>
          <pc:docMk/>
          <pc:sldMk cId="3063063376" sldId="277"/>
        </pc:sldMkLst>
        <pc:spChg chg="del">
          <ac:chgData name="Malin Andersen" userId="67895919-1e14-47ad-aa24-7fe5f76b678e" providerId="ADAL" clId="{1BA3736D-9A0C-48C7-8AD2-75DBB62A2D08}" dt="2020-11-13T21:20:55.187" v="136"/>
          <ac:spMkLst>
            <pc:docMk/>
            <pc:sldMk cId="3063063376" sldId="277"/>
            <ac:spMk id="2" creationId="{6707EF29-687D-4635-BF71-2CD06B5420E0}"/>
          </ac:spMkLst>
        </pc:spChg>
        <pc:spChg chg="del">
          <ac:chgData name="Malin Andersen" userId="67895919-1e14-47ad-aa24-7fe5f76b678e" providerId="ADAL" clId="{1BA3736D-9A0C-48C7-8AD2-75DBB62A2D08}" dt="2020-11-13T21:20:55.187" v="136"/>
          <ac:spMkLst>
            <pc:docMk/>
            <pc:sldMk cId="3063063376" sldId="277"/>
            <ac:spMk id="3" creationId="{D3AC6C98-C35F-4CA3-B061-212804EC0643}"/>
          </ac:spMkLst>
        </pc:spChg>
        <pc:spChg chg="add mod">
          <ac:chgData name="Malin Andersen" userId="67895919-1e14-47ad-aa24-7fe5f76b678e" providerId="ADAL" clId="{1BA3736D-9A0C-48C7-8AD2-75DBB62A2D08}" dt="2020-11-13T21:21:01.382" v="153" actId="20577"/>
          <ac:spMkLst>
            <pc:docMk/>
            <pc:sldMk cId="3063063376" sldId="277"/>
            <ac:spMk id="4" creationId="{0D3559B1-8DB4-43DC-96C9-985BA44BB9AA}"/>
          </ac:spMkLst>
        </pc:spChg>
        <pc:spChg chg="add mod">
          <ac:chgData name="Malin Andersen" userId="67895919-1e14-47ad-aa24-7fe5f76b678e" providerId="ADAL" clId="{1BA3736D-9A0C-48C7-8AD2-75DBB62A2D08}" dt="2020-11-13T21:20:55.187" v="136"/>
          <ac:spMkLst>
            <pc:docMk/>
            <pc:sldMk cId="3063063376" sldId="277"/>
            <ac:spMk id="5" creationId="{47C08D98-2D58-4ADF-8696-2A4BC58C3E59}"/>
          </ac:spMkLst>
        </pc:spChg>
        <pc:picChg chg="add mod modCrop">
          <ac:chgData name="Malin Andersen" userId="67895919-1e14-47ad-aa24-7fe5f76b678e" providerId="ADAL" clId="{1BA3736D-9A0C-48C7-8AD2-75DBB62A2D08}" dt="2020-11-13T22:02:38.197" v="369" actId="1076"/>
          <ac:picMkLst>
            <pc:docMk/>
            <pc:sldMk cId="3063063376" sldId="277"/>
            <ac:picMk id="6" creationId="{2ABB1FCD-3330-46B3-83F5-CF04E84B95AD}"/>
          </ac:picMkLst>
        </pc:picChg>
      </pc:sldChg>
      <pc:sldChg chg="addSp delSp modSp add modNotes modNotesTx">
        <pc:chgData name="Malin Andersen" userId="67895919-1e14-47ad-aa24-7fe5f76b678e" providerId="ADAL" clId="{1BA3736D-9A0C-48C7-8AD2-75DBB62A2D08}" dt="2020-11-13T22:07:39.527" v="405" actId="14100"/>
        <pc:sldMkLst>
          <pc:docMk/>
          <pc:sldMk cId="3251362992" sldId="278"/>
        </pc:sldMkLst>
        <pc:spChg chg="del">
          <ac:chgData name="Malin Andersen" userId="67895919-1e14-47ad-aa24-7fe5f76b678e" providerId="ADAL" clId="{1BA3736D-9A0C-48C7-8AD2-75DBB62A2D08}" dt="2020-11-13T22:06:29.432" v="382"/>
          <ac:spMkLst>
            <pc:docMk/>
            <pc:sldMk cId="3251362992" sldId="278"/>
            <ac:spMk id="2" creationId="{12B01C51-798C-44A6-9117-B4044E1AD755}"/>
          </ac:spMkLst>
        </pc:spChg>
        <pc:spChg chg="del">
          <ac:chgData name="Malin Andersen" userId="67895919-1e14-47ad-aa24-7fe5f76b678e" providerId="ADAL" clId="{1BA3736D-9A0C-48C7-8AD2-75DBB62A2D08}" dt="2020-11-13T22:06:29.432" v="382"/>
          <ac:spMkLst>
            <pc:docMk/>
            <pc:sldMk cId="3251362992" sldId="278"/>
            <ac:spMk id="3" creationId="{A7E13E59-93CE-4349-9BD1-864F76A2E69D}"/>
          </ac:spMkLst>
        </pc:spChg>
        <pc:spChg chg="add mod">
          <ac:chgData name="Malin Andersen" userId="67895919-1e14-47ad-aa24-7fe5f76b678e" providerId="ADAL" clId="{1BA3736D-9A0C-48C7-8AD2-75DBB62A2D08}" dt="2020-11-13T22:07:14.609" v="401" actId="20577"/>
          <ac:spMkLst>
            <pc:docMk/>
            <pc:sldMk cId="3251362992" sldId="278"/>
            <ac:spMk id="4" creationId="{97A0587E-693D-490F-884E-FD5E4723F3AA}"/>
          </ac:spMkLst>
        </pc:spChg>
        <pc:spChg chg="add del mod">
          <ac:chgData name="Malin Andersen" userId="67895919-1e14-47ad-aa24-7fe5f76b678e" providerId="ADAL" clId="{1BA3736D-9A0C-48C7-8AD2-75DBB62A2D08}" dt="2020-11-13T22:07:24.786" v="402"/>
          <ac:spMkLst>
            <pc:docMk/>
            <pc:sldMk cId="3251362992" sldId="278"/>
            <ac:spMk id="5" creationId="{F73E14D4-34B3-491E-8AA2-31B16066CCF3}"/>
          </ac:spMkLst>
        </pc:spChg>
        <pc:spChg chg="add del mod">
          <ac:chgData name="Malin Andersen" userId="67895919-1e14-47ad-aa24-7fe5f76b678e" providerId="ADAL" clId="{1BA3736D-9A0C-48C7-8AD2-75DBB62A2D08}" dt="2020-11-13T22:07:34.402" v="404"/>
          <ac:spMkLst>
            <pc:docMk/>
            <pc:sldMk cId="3251362992" sldId="278"/>
            <ac:spMk id="6" creationId="{5DD5D268-FCD2-4588-A7F7-E052B35176EE}"/>
          </ac:spMkLst>
        </pc:spChg>
        <pc:picChg chg="add">
          <ac:chgData name="Malin Andersen" userId="67895919-1e14-47ad-aa24-7fe5f76b678e" providerId="ADAL" clId="{1BA3736D-9A0C-48C7-8AD2-75DBB62A2D08}" dt="2020-11-13T22:07:24.786" v="402"/>
          <ac:picMkLst>
            <pc:docMk/>
            <pc:sldMk cId="3251362992" sldId="278"/>
            <ac:picMk id="7" creationId="{23B70171-D2AE-4419-A2B9-699E44DEFEDF}"/>
          </ac:picMkLst>
        </pc:picChg>
        <pc:picChg chg="add mod">
          <ac:chgData name="Malin Andersen" userId="67895919-1e14-47ad-aa24-7fe5f76b678e" providerId="ADAL" clId="{1BA3736D-9A0C-48C7-8AD2-75DBB62A2D08}" dt="2020-11-13T22:07:39.527" v="405" actId="14100"/>
          <ac:picMkLst>
            <pc:docMk/>
            <pc:sldMk cId="3251362992" sldId="278"/>
            <ac:picMk id="8" creationId="{B528D4EA-EFFC-400D-8623-7CF45AE0FD5F}"/>
          </ac:picMkLst>
        </pc:picChg>
      </pc:sldChg>
      <pc:sldChg chg="addSp delSp modSp add">
        <pc:chgData name="Malin Andersen" userId="67895919-1e14-47ad-aa24-7fe5f76b678e" providerId="ADAL" clId="{1BA3736D-9A0C-48C7-8AD2-75DBB62A2D08}" dt="2020-11-13T22:09:15.203" v="419" actId="1076"/>
        <pc:sldMkLst>
          <pc:docMk/>
          <pc:sldMk cId="2247752183" sldId="279"/>
        </pc:sldMkLst>
        <pc:spChg chg="del">
          <ac:chgData name="Malin Andersen" userId="67895919-1e14-47ad-aa24-7fe5f76b678e" providerId="ADAL" clId="{1BA3736D-9A0C-48C7-8AD2-75DBB62A2D08}" dt="2020-11-13T22:08:48.880" v="406"/>
          <ac:spMkLst>
            <pc:docMk/>
            <pc:sldMk cId="2247752183" sldId="279"/>
            <ac:spMk id="2" creationId="{7E02416A-E69E-4B19-A4E3-39F7CEBFD297}"/>
          </ac:spMkLst>
        </pc:spChg>
        <pc:spChg chg="del">
          <ac:chgData name="Malin Andersen" userId="67895919-1e14-47ad-aa24-7fe5f76b678e" providerId="ADAL" clId="{1BA3736D-9A0C-48C7-8AD2-75DBB62A2D08}" dt="2020-11-13T22:08:48.880" v="406"/>
          <ac:spMkLst>
            <pc:docMk/>
            <pc:sldMk cId="2247752183" sldId="279"/>
            <ac:spMk id="3" creationId="{D3DA75E2-1B46-4799-8048-7A869F798061}"/>
          </ac:spMkLst>
        </pc:spChg>
        <pc:spChg chg="add mod">
          <ac:chgData name="Malin Andersen" userId="67895919-1e14-47ad-aa24-7fe5f76b678e" providerId="ADAL" clId="{1BA3736D-9A0C-48C7-8AD2-75DBB62A2D08}" dt="2020-11-13T22:08:58.387" v="416" actId="20577"/>
          <ac:spMkLst>
            <pc:docMk/>
            <pc:sldMk cId="2247752183" sldId="279"/>
            <ac:spMk id="4" creationId="{A97BB726-24AD-436C-B334-BE22558DEC63}"/>
          </ac:spMkLst>
        </pc:spChg>
        <pc:spChg chg="add del mod">
          <ac:chgData name="Malin Andersen" userId="67895919-1e14-47ad-aa24-7fe5f76b678e" providerId="ADAL" clId="{1BA3736D-9A0C-48C7-8AD2-75DBB62A2D08}" dt="2020-11-13T22:09:07.887" v="417"/>
          <ac:spMkLst>
            <pc:docMk/>
            <pc:sldMk cId="2247752183" sldId="279"/>
            <ac:spMk id="5" creationId="{C5D4883D-D276-4F4B-A597-D3A6CBD72174}"/>
          </ac:spMkLst>
        </pc:spChg>
        <pc:picChg chg="add mod">
          <ac:chgData name="Malin Andersen" userId="67895919-1e14-47ad-aa24-7fe5f76b678e" providerId="ADAL" clId="{1BA3736D-9A0C-48C7-8AD2-75DBB62A2D08}" dt="2020-11-13T22:09:15.203" v="419" actId="1076"/>
          <ac:picMkLst>
            <pc:docMk/>
            <pc:sldMk cId="2247752183" sldId="279"/>
            <ac:picMk id="6" creationId="{71CF9A33-7718-4AE6-8819-544C5715B3F0}"/>
          </ac:picMkLst>
        </pc:picChg>
      </pc:sldChg>
      <pc:sldChg chg="add">
        <pc:chgData name="Malin Andersen" userId="67895919-1e14-47ad-aa24-7fe5f76b678e" providerId="ADAL" clId="{1BA3736D-9A0C-48C7-8AD2-75DBB62A2D08}" dt="2020-11-13T22:10:06.148" v="420"/>
        <pc:sldMkLst>
          <pc:docMk/>
          <pc:sldMk cId="2743620936" sldId="280"/>
        </pc:sldMkLst>
      </pc:sldChg>
      <pc:sldChg chg="add">
        <pc:chgData name="Malin Andersen" userId="67895919-1e14-47ad-aa24-7fe5f76b678e" providerId="ADAL" clId="{1BA3736D-9A0C-48C7-8AD2-75DBB62A2D08}" dt="2020-11-13T22:10:08.076" v="421"/>
        <pc:sldMkLst>
          <pc:docMk/>
          <pc:sldMk cId="628652379" sldId="281"/>
        </pc:sldMkLst>
      </pc:sldChg>
      <pc:sldMasterChg chg="modSldLayout">
        <pc:chgData name="Malin Andersen" userId="67895919-1e14-47ad-aa24-7fe5f76b678e" providerId="ADAL" clId="{1BA3736D-9A0C-48C7-8AD2-75DBB62A2D08}" dt="2020-11-13T19:06:39.095" v="58" actId="14100"/>
        <pc:sldMasterMkLst>
          <pc:docMk/>
          <pc:sldMasterMk cId="3333494721" sldId="2147483648"/>
        </pc:sldMasterMkLst>
        <pc:sldLayoutChg chg="addSp delSp modSp">
          <pc:chgData name="Malin Andersen" userId="67895919-1e14-47ad-aa24-7fe5f76b678e" providerId="ADAL" clId="{1BA3736D-9A0C-48C7-8AD2-75DBB62A2D08}" dt="2020-11-13T19:06:39.095" v="58" actId="14100"/>
          <pc:sldLayoutMkLst>
            <pc:docMk/>
            <pc:sldMasterMk cId="3333494721" sldId="2147483648"/>
            <pc:sldLayoutMk cId="1121881536" sldId="2147483674"/>
          </pc:sldLayoutMkLst>
          <pc:spChg chg="del mod">
            <ac:chgData name="Malin Andersen" userId="67895919-1e14-47ad-aa24-7fe5f76b678e" providerId="ADAL" clId="{1BA3736D-9A0C-48C7-8AD2-75DBB62A2D08}" dt="2020-11-13T19:06:20.436" v="54" actId="478"/>
            <ac:spMkLst>
              <pc:docMk/>
              <pc:sldMasterMk cId="3333494721" sldId="2147483648"/>
              <pc:sldLayoutMk cId="1121881536" sldId="2147483674"/>
              <ac:spMk id="2" creationId="{00000000-0000-0000-0000-000000000000}"/>
            </ac:spMkLst>
          </pc:spChg>
          <pc:spChg chg="mod">
            <ac:chgData name="Malin Andersen" userId="67895919-1e14-47ad-aa24-7fe5f76b678e" providerId="ADAL" clId="{1BA3736D-9A0C-48C7-8AD2-75DBB62A2D08}" dt="2020-11-13T19:06:39.095" v="58" actId="14100"/>
            <ac:spMkLst>
              <pc:docMk/>
              <pc:sldMasterMk cId="3333494721" sldId="2147483648"/>
              <pc:sldLayoutMk cId="1121881536" sldId="2147483674"/>
              <ac:spMk id="6" creationId="{7BB4167F-5524-4CC2-AFC0-4E28158A4533}"/>
            </ac:spMkLst>
          </pc:spChg>
          <pc:spChg chg="add mod">
            <ac:chgData name="Malin Andersen" userId="67895919-1e14-47ad-aa24-7fe5f76b678e" providerId="ADAL" clId="{1BA3736D-9A0C-48C7-8AD2-75DBB62A2D08}" dt="2020-11-13T19:06:34.689" v="57" actId="14100"/>
            <ac:spMkLst>
              <pc:docMk/>
              <pc:sldMasterMk cId="3333494721" sldId="2147483648"/>
              <pc:sldLayoutMk cId="1121881536" sldId="2147483674"/>
              <ac:spMk id="7" creationId="{1FBB47F2-2946-4476-9E0D-A4BB7DE73CE5}"/>
            </ac:spMkLst>
          </pc:spChg>
        </pc:sldLayoutChg>
      </pc:sldMasterChg>
    </pc:docChg>
  </pc:docChgLst>
  <pc:docChgLst>
    <pc:chgData name="Liv Karin Eilevstad" userId="ee781d7f-0e27-497d-8bec-2994a5bcf13b" providerId="ADAL" clId="{6B64EC70-701D-47A4-91CE-83ADA8E6CEE9}"/>
    <pc:docChg chg="modSld">
      <pc:chgData name="Liv Karin Eilevstad" userId="ee781d7f-0e27-497d-8bec-2994a5bcf13b" providerId="ADAL" clId="{6B64EC70-701D-47A4-91CE-83ADA8E6CEE9}" dt="2021-04-21T11:48:42.904" v="0" actId="20577"/>
      <pc:docMkLst>
        <pc:docMk/>
      </pc:docMkLst>
      <pc:sldChg chg="modNotesTx">
        <pc:chgData name="Liv Karin Eilevstad" userId="ee781d7f-0e27-497d-8bec-2994a5bcf13b" providerId="ADAL" clId="{6B64EC70-701D-47A4-91CE-83ADA8E6CEE9}" dt="2021-04-21T11:48:42.904" v="0" actId="20577"/>
        <pc:sldMkLst>
          <pc:docMk/>
          <pc:sldMk cId="3063063376" sldId="277"/>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a:extLst>
              <a:ext uri="{FF2B5EF4-FFF2-40B4-BE49-F238E27FC236}">
                <a16:creationId xmlns:a16="http://schemas.microsoft.com/office/drawing/2014/main" id="{EC35A749-25B4-45C0-BDAD-2322A9D4F84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a:extLst>
              <a:ext uri="{FF2B5EF4-FFF2-40B4-BE49-F238E27FC236}">
                <a16:creationId xmlns:a16="http://schemas.microsoft.com/office/drawing/2014/main" id="{64A3D9B0-6A03-47DC-BB75-E82DB7840BE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4F2F58B-20FA-48E4-A26A-6D28CF6B4EBF}" type="datetimeFigureOut">
              <a:rPr lang="nb-NO" smtClean="0"/>
              <a:t>31.05.2021</a:t>
            </a:fld>
            <a:endParaRPr lang="nb-NO"/>
          </a:p>
        </p:txBody>
      </p:sp>
      <p:sp>
        <p:nvSpPr>
          <p:cNvPr id="4" name="Plassholder for bunntekst 3">
            <a:extLst>
              <a:ext uri="{FF2B5EF4-FFF2-40B4-BE49-F238E27FC236}">
                <a16:creationId xmlns:a16="http://schemas.microsoft.com/office/drawing/2014/main" id="{623410F5-6A0B-4BBA-A642-6EAC4BAFCA0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5" name="Plassholder for lysbildenummer 4">
            <a:extLst>
              <a:ext uri="{FF2B5EF4-FFF2-40B4-BE49-F238E27FC236}">
                <a16:creationId xmlns:a16="http://schemas.microsoft.com/office/drawing/2014/main" id="{049F2FA9-08F2-41E9-ABDC-C7E182FE418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F6ABF2C-2557-4D27-9608-ABA4E8B546F7}" type="slidenum">
              <a:rPr lang="nb-NO" smtClean="0"/>
              <a:t>‹#›</a:t>
            </a:fld>
            <a:endParaRPr lang="nb-NO"/>
          </a:p>
        </p:txBody>
      </p:sp>
    </p:spTree>
    <p:extLst>
      <p:ext uri="{BB962C8B-B14F-4D97-AF65-F5344CB8AC3E}">
        <p14:creationId xmlns:p14="http://schemas.microsoft.com/office/powerpoint/2010/main" val="38857810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lassholder for lysbilde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nb-NO" dirty="0"/>
              <a:t>Klikk for å redigere tekststiler i malen</a:t>
            </a:r>
          </a:p>
          <a:p>
            <a:pPr lvl="1"/>
            <a:r>
              <a:rPr lang="nb-NO" dirty="0"/>
              <a:t>Andre nivå</a:t>
            </a:r>
          </a:p>
          <a:p>
            <a:pPr lvl="2"/>
            <a:r>
              <a:rPr lang="nb-NO" dirty="0"/>
              <a:t>Tredje nivå</a:t>
            </a:r>
          </a:p>
        </p:txBody>
      </p:sp>
    </p:spTree>
    <p:extLst>
      <p:ext uri="{BB962C8B-B14F-4D97-AF65-F5344CB8AC3E}">
        <p14:creationId xmlns:p14="http://schemas.microsoft.com/office/powerpoint/2010/main" val="3008420913"/>
      </p:ext>
    </p:extLst>
  </p:cSld>
  <p:clrMap bg1="lt1" tx1="dk1" bg2="lt2" tx2="dk2" accent1="accent1" accent2="accent2" accent3="accent3" accent4="accent4" accent5="accent5" accent6="accent6" hlink="hlink" folHlink="folHlink"/>
  <p:notesStyle>
    <a:lvl1pPr marL="0" algn="l" defTabSz="1088776"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544388" algn="l" defTabSz="1088776"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1088776" algn="l" defTabSz="1088776"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633164" algn="l" defTabSz="1088776" rtl="0" eaLnBrk="1" latinLnBrk="0" hangingPunct="1">
      <a:defRPr sz="14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Tree>
    <p:extLst>
      <p:ext uri="{BB962C8B-B14F-4D97-AF65-F5344CB8AC3E}">
        <p14:creationId xmlns:p14="http://schemas.microsoft.com/office/powerpoint/2010/main" val="16101373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100" b="1" dirty="0">
                <a:latin typeface="+mn-lt"/>
              </a:rPr>
              <a:t>Støttetekst</a:t>
            </a:r>
          </a:p>
          <a:p>
            <a:r>
              <a:rPr lang="nb-NO" sz="1100" b="0" dirty="0">
                <a:latin typeface="+mn-lt"/>
              </a:rPr>
              <a:t>Nå har dere tegnet opp deres versjon av asylprosessen. Her ser du UDIs oversikt igjen. Er det noe som er annerledes her enn det dere tegnet opp? </a:t>
            </a:r>
          </a:p>
          <a:p>
            <a:endParaRPr lang="nb-NO" sz="1100" b="1" dirty="0">
              <a:latin typeface="+mn-lt"/>
            </a:endParaRPr>
          </a:p>
          <a:p>
            <a:r>
              <a:rPr lang="nb-NO" sz="1100" b="1" dirty="0">
                <a:latin typeface="+mn-lt"/>
              </a:rPr>
              <a:t>Forslag til metode</a:t>
            </a:r>
          </a:p>
          <a:p>
            <a:r>
              <a:rPr lang="nb-NO" sz="1100" b="0" dirty="0">
                <a:latin typeface="+mn-lt"/>
              </a:rPr>
              <a:t>Bruk kartet for å eventuelt tilføre kunnskap, sjekk ut hva som er forstått og hva som fortsatt er uklart. Ta med deg det de lurer på i de neste møtene, når dere skal gå nærmere inn på hva som skjer i asylprosessen.</a:t>
            </a:r>
          </a:p>
          <a:p>
            <a:endParaRPr lang="nb-NO" sz="1100" b="1" dirty="0">
              <a:latin typeface="+mn-lt"/>
            </a:endParaRPr>
          </a:p>
          <a:p>
            <a:r>
              <a:rPr lang="nb-NO" sz="1100" b="1" dirty="0">
                <a:latin typeface="+mn-lt"/>
              </a:rPr>
              <a:t>Ønsker du mer informasjon?</a:t>
            </a:r>
          </a:p>
          <a:p>
            <a:r>
              <a:rPr lang="nb-NO" sz="1100" b="0" dirty="0">
                <a:latin typeface="+mn-lt"/>
              </a:rPr>
              <a:t>For mer informasjon om saksgangen i asylsaker se UDI 2010-158 Saksgang i asylsaker etter vedtak i første instans. Du finner dokumentet på https://www.udiregelverk.no/</a:t>
            </a:r>
          </a:p>
          <a:p>
            <a:endParaRPr lang="nb-NO" dirty="0"/>
          </a:p>
        </p:txBody>
      </p:sp>
    </p:spTree>
    <p:extLst>
      <p:ext uri="{BB962C8B-B14F-4D97-AF65-F5344CB8AC3E}">
        <p14:creationId xmlns:p14="http://schemas.microsoft.com/office/powerpoint/2010/main" val="12518284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100" b="1" dirty="0">
                <a:latin typeface="Arial" panose="020B0604020202020204" pitchFamily="34" charset="0"/>
                <a:cs typeface="Arial" panose="020B0604020202020204" pitchFamily="34" charset="0"/>
              </a:rPr>
              <a:t>Støttetekst</a:t>
            </a:r>
          </a:p>
          <a:p>
            <a:r>
              <a:rPr lang="nb-NO" sz="1100" dirty="0">
                <a:latin typeface="Arial" panose="020B0604020202020204" pitchFamily="34" charset="0"/>
                <a:cs typeface="Arial" panose="020B0604020202020204" pitchFamily="34" charset="0"/>
              </a:rPr>
              <a:t>Vi skal snakke om hvem du møter når du søker om beskyttelse, og hva slags oppgaver og ansvar de har. </a:t>
            </a:r>
          </a:p>
          <a:p>
            <a:endParaRPr lang="nb-NO" dirty="0"/>
          </a:p>
        </p:txBody>
      </p:sp>
    </p:spTree>
    <p:extLst>
      <p:ext uri="{BB962C8B-B14F-4D97-AF65-F5344CB8AC3E}">
        <p14:creationId xmlns:p14="http://schemas.microsoft.com/office/powerpoint/2010/main" val="32470944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 </a:t>
            </a:r>
          </a:p>
          <a:p>
            <a:r>
              <a:rPr lang="nb-NO" dirty="0"/>
              <a:t>Politiet registrerer søknaden din om beskyttelse og sender opplysningene videre til UDI som behandler søknaden din. Du skal fortelle om deg selv og hvorfor du søker om beskyttelse. Det er straffbart å lyve eller holde tilbake viktig informasjon til Norske myndigheter. Det er ikke politiet som behandler søknaden din om beskyttelse. </a:t>
            </a:r>
          </a:p>
          <a:p>
            <a:endParaRPr lang="nb-NO" dirty="0"/>
          </a:p>
          <a:p>
            <a:r>
              <a:rPr lang="nb-NO" b="1" dirty="0"/>
              <a:t>Taushetsplikt </a:t>
            </a:r>
          </a:p>
          <a:p>
            <a:r>
              <a:rPr lang="nb-NO" dirty="0"/>
              <a:t>Politiet har taushetsplikt. Det betyr at de ikke kan gi opplysninger om søknaden din til myndighetene i hjemlandet ditt. De kan heller ikke fortelle hva du har sagt til personer som ikke arbeider med søknaden din, eller til familien din. Det er straffbart å bryte taushetsplikten. </a:t>
            </a:r>
          </a:p>
          <a:p>
            <a:endParaRPr lang="nb-NO" dirty="0"/>
          </a:p>
          <a:p>
            <a:r>
              <a:rPr lang="nb-NO" dirty="0"/>
              <a:t>Politiet er en del av norske myndigheter. </a:t>
            </a:r>
          </a:p>
          <a:p>
            <a:endParaRPr lang="nb-NO" b="1" dirty="0">
              <a:solidFill>
                <a:srgbClr val="FF0000"/>
              </a:solidFill>
            </a:endParaRPr>
          </a:p>
          <a:p>
            <a:r>
              <a:rPr lang="nb-NO" b="1" dirty="0">
                <a:solidFill>
                  <a:srgbClr val="FF0000"/>
                </a:solidFill>
              </a:rPr>
              <a:t>Til deg som holder presentasjonen </a:t>
            </a:r>
          </a:p>
          <a:p>
            <a:r>
              <a:rPr lang="nb-NO" b="0" dirty="0">
                <a:solidFill>
                  <a:srgbClr val="FF0000"/>
                </a:solidFill>
              </a:rPr>
              <a:t>Du finner mer informasjon om politiets rolle på https://www.politiet.no/tjenester/opphold-i-norge-og-asyl/soke-asyl-beskyttelse-i-norge/ Informasjonen er på norsk og engelsk. </a:t>
            </a:r>
          </a:p>
          <a:p>
            <a:endParaRPr lang="nb-NO" dirty="0"/>
          </a:p>
        </p:txBody>
      </p:sp>
    </p:spTree>
    <p:extLst>
      <p:ext uri="{BB962C8B-B14F-4D97-AF65-F5344CB8AC3E}">
        <p14:creationId xmlns:p14="http://schemas.microsoft.com/office/powerpoint/2010/main" val="16473422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a:t>
            </a:r>
          </a:p>
          <a:p>
            <a:r>
              <a:rPr lang="nb-NO" dirty="0"/>
              <a:t>Tolken skal oversette det som blir sagt. Tolken er nøytral og tolker bare det du og den du snakker med sier. Det betyr at tolken ikke skal kommentere, legge til, ta bort, forandre informasjon eller gi råd til deg eller den du snakker med. Tolken skal snakke språket ditt eller et annet språk du forstår, og norsk.</a:t>
            </a:r>
          </a:p>
          <a:p>
            <a:endParaRPr lang="nb-NO" dirty="0"/>
          </a:p>
          <a:p>
            <a:r>
              <a:rPr lang="nb-NO" dirty="0"/>
              <a:t>Det er norske myndigheter som dekker utgifter til tolk når du søker om beskyttelse. </a:t>
            </a:r>
          </a:p>
          <a:p>
            <a:r>
              <a:rPr lang="nb-NO" dirty="0"/>
              <a:t>Tolken er ikke en del av norske myndigheter. </a:t>
            </a:r>
          </a:p>
          <a:p>
            <a:endParaRPr lang="nb-NO" dirty="0"/>
          </a:p>
          <a:p>
            <a:r>
              <a:rPr lang="nb-NO" b="1" dirty="0"/>
              <a:t>Taushetsplikt</a:t>
            </a:r>
          </a:p>
          <a:p>
            <a:r>
              <a:rPr lang="nb-NO" dirty="0"/>
              <a:t>Tolken har taushetsplikt. Det er straffbart å bryte taushetsplikten.</a:t>
            </a:r>
          </a:p>
          <a:p>
            <a:endParaRPr lang="nb-NO" dirty="0"/>
          </a:p>
          <a:p>
            <a:r>
              <a:rPr lang="nb-NO" b="1" dirty="0"/>
              <a:t>Til deg som holder presentasjonen</a:t>
            </a:r>
          </a:p>
          <a:p>
            <a:r>
              <a:rPr lang="nb-NO" dirty="0"/>
              <a:t>For mer informasjon se UDI 2011-039 Bruk av tolk i utlendingssaker. Du finner dokumentet på https://www.udiregelverk.no/</a:t>
            </a:r>
          </a:p>
          <a:p>
            <a:endParaRPr lang="nb-NO" dirty="0"/>
          </a:p>
        </p:txBody>
      </p:sp>
    </p:spTree>
    <p:extLst>
      <p:ext uri="{BB962C8B-B14F-4D97-AF65-F5344CB8AC3E}">
        <p14:creationId xmlns:p14="http://schemas.microsoft.com/office/powerpoint/2010/main" val="11764957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a:t>
            </a:r>
          </a:p>
          <a:p>
            <a:r>
              <a:rPr lang="nb-NO" dirty="0"/>
              <a:t>Du har rett til å bo i asylmottak når du venter på svar på søknaden din. Du har også rett til å bo i mottak når du har fått svar, og venter på å reise hjem eller skal flytte til en kommune. Hvis du velger å bo utenfor mottaket, får du ikke penger av mottaket eller av andre norske myndigheter. Du får heller ikke dekket husleie og strøm. </a:t>
            </a:r>
          </a:p>
          <a:p>
            <a:endParaRPr lang="nb-NO" dirty="0"/>
          </a:p>
          <a:p>
            <a:r>
              <a:rPr lang="nb-NO" dirty="0"/>
              <a:t>Det er UDI som bestemmer hvilket asylmottak du skal bo på.</a:t>
            </a:r>
          </a:p>
          <a:p>
            <a:endParaRPr lang="nb-NO" dirty="0"/>
          </a:p>
          <a:p>
            <a:r>
              <a:rPr lang="nb-NO" dirty="0"/>
              <a:t>Hvis du flytter ut av mottaket må du gi den nye adressen din til mottaket og politiet. Det er viktig at vi vet hvor du bor slik at du kan få informasjon om saken din. </a:t>
            </a:r>
          </a:p>
          <a:p>
            <a:endParaRPr lang="nb-NO" dirty="0"/>
          </a:p>
          <a:p>
            <a:r>
              <a:rPr lang="nb-NO" b="1" dirty="0"/>
              <a:t>Taushetsplikt</a:t>
            </a:r>
          </a:p>
          <a:p>
            <a:r>
              <a:rPr lang="nb-NO" dirty="0"/>
              <a:t>Vi som jobber i mottak har taushetsplikt. Det er straffbart å bryte taushetsplikten.</a:t>
            </a:r>
          </a:p>
          <a:p>
            <a:endParaRPr lang="nb-NO" dirty="0"/>
          </a:p>
          <a:p>
            <a:r>
              <a:rPr lang="nb-NO" b="1" dirty="0"/>
              <a:t>Til deg som holder presentasjonen</a:t>
            </a:r>
          </a:p>
          <a:p>
            <a:r>
              <a:rPr lang="nb-NO" b="0" dirty="0"/>
              <a:t>For mer informasjon om innkvartering, se UDI 2008-031 Krav til innkvarteringstilbud i ordinære asylmottak. Du finner retningslinjen på https://www.udiregelverk.no/</a:t>
            </a:r>
          </a:p>
          <a:p>
            <a:endParaRPr lang="nb-NO" b="0" dirty="0"/>
          </a:p>
          <a:p>
            <a:r>
              <a:rPr lang="nb-NO" b="0" dirty="0"/>
              <a:t>Se også https://www.udi.no/asylmottak/onsker-a-drive-mottak/styringsdokumenter-og-veiledere-for-asylmottak/</a:t>
            </a:r>
          </a:p>
        </p:txBody>
      </p:sp>
    </p:spTree>
    <p:extLst>
      <p:ext uri="{BB962C8B-B14F-4D97-AF65-F5344CB8AC3E}">
        <p14:creationId xmlns:p14="http://schemas.microsoft.com/office/powerpoint/2010/main" val="4075271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85000" lnSpcReduction="10000"/>
          </a:bodyPr>
          <a:lstStyle/>
          <a:p>
            <a:r>
              <a:rPr lang="nb-NO" b="1" dirty="0"/>
              <a:t>Støttetekst</a:t>
            </a:r>
          </a:p>
          <a:p>
            <a:r>
              <a:rPr lang="nb-NO" dirty="0"/>
              <a:t>Norsk Organisasjon for Asylsøkere (NOAS) er en uavhengig organisasjon som gir deg informasjon om asylprosessen, rettighetene og pliktene dine som asylsøker. De gir deg også informasjon om hva som er viktig at du forteller i asylintervjuet (NOAS gir denne informasjonen på Ankomstsenteret).</a:t>
            </a:r>
          </a:p>
          <a:p>
            <a:endParaRPr lang="nb-NO" dirty="0"/>
          </a:p>
          <a:p>
            <a:r>
              <a:rPr lang="nb-NO" dirty="0"/>
              <a:t>NOAS gir også gratis rettshjelp i noen asylsaker. Hvis du får avslag hos Utlendingsdirektoratet (UDI) eller Utlendingsnemnda (UNE) kan du be om å få en vurdering av asylsaken din hos NOAS.</a:t>
            </a:r>
          </a:p>
          <a:p>
            <a:endParaRPr lang="nb-NO" dirty="0"/>
          </a:p>
          <a:p>
            <a:r>
              <a:rPr lang="nb-NO" dirty="0"/>
              <a:t>NOAS er ikke en del av norske myndigheter.</a:t>
            </a:r>
          </a:p>
          <a:p>
            <a:endParaRPr lang="nb-NO" dirty="0"/>
          </a:p>
          <a:p>
            <a:r>
              <a:rPr lang="nb-NO" dirty="0"/>
              <a:t>Du finner mer informasjon om NOAS på www.noas.no. Informasjonen er på flere språk. </a:t>
            </a:r>
          </a:p>
          <a:p>
            <a:endParaRPr lang="nb-NO" dirty="0"/>
          </a:p>
          <a:p>
            <a:r>
              <a:rPr lang="nb-NO" b="1" dirty="0"/>
              <a:t>Taushetsplikt </a:t>
            </a:r>
          </a:p>
          <a:p>
            <a:r>
              <a:rPr lang="nb-NO" dirty="0"/>
              <a:t>NOAS har taushetsplikt. Det er straffbart å bryte taushetsplikten.</a:t>
            </a:r>
          </a:p>
          <a:p>
            <a:endParaRPr lang="nb-NO" dirty="0"/>
          </a:p>
          <a:p>
            <a:r>
              <a:rPr lang="nb-NO" b="1" dirty="0"/>
              <a:t>Til deg som holder presentasjonen</a:t>
            </a:r>
          </a:p>
          <a:p>
            <a:r>
              <a:rPr lang="nb-NO" dirty="0"/>
              <a:t>Asylsøkere har, etter utlendingsforskriften § 17-17, krav på å få veiledning fra en uavhengig organisasjon. Myndighetene skal legge til rette for at asylsøkere får tilbud om dette. UDI har gitt NOAS oppdraget med å gjennomføre informasjons- og veiledningsprogrammet.</a:t>
            </a:r>
          </a:p>
          <a:p>
            <a:endParaRPr lang="nb-NO" dirty="0"/>
          </a:p>
          <a:p>
            <a:r>
              <a:rPr lang="nb-NO" dirty="0"/>
              <a:t>Det har vært diskutert en begrepsendring fra «intervju» til «kunnskapsbasert samtale». Vær oppmerksom på at det kan komme spørsmål om det.</a:t>
            </a:r>
          </a:p>
          <a:p>
            <a:endParaRPr lang="nb-NO" dirty="0"/>
          </a:p>
          <a:p>
            <a:r>
              <a:rPr lang="nb-NO" dirty="0"/>
              <a:t>For mer informasjon se www.noas.no</a:t>
            </a:r>
          </a:p>
          <a:p>
            <a:endParaRPr lang="nb-NO" dirty="0"/>
          </a:p>
          <a:p>
            <a:r>
              <a:rPr lang="nb-NO" b="1" dirty="0"/>
              <a:t>Forslag til metode</a:t>
            </a:r>
          </a:p>
          <a:p>
            <a:pPr marL="171450" indent="-171450">
              <a:buFont typeface="Arial" panose="020B0604020202020204" pitchFamily="34" charset="0"/>
              <a:buChar char="•"/>
            </a:pPr>
            <a:r>
              <a:rPr lang="nb-NO" dirty="0"/>
              <a:t>Vis informasjonsfilm fra NOAS. Du finner filmen her: https://www.noas.no/asylsoker/informasjon-om-asylprosessen/filmer/</a:t>
            </a:r>
          </a:p>
          <a:p>
            <a:pPr marL="171450" indent="-171450">
              <a:buFont typeface="Arial" panose="020B0604020202020204" pitchFamily="34" charset="0"/>
              <a:buChar char="•"/>
            </a:pPr>
            <a:r>
              <a:rPr lang="nb-NO" dirty="0"/>
              <a:t>Del ut informasjonsbrosjyren «Informasjon til asylsøkere i Norge» som forklarer hvem som har rett til asyl/beskyttelse, går gjennom saksgangen i asylsaker, rettigheter og plikter som asylsøkere har i Norge. Brosjyren er på 24 språk. Du finner den her: https://www.noas.no/asylsoker/informasjon-om-asylprosessen/brosjyrer/</a:t>
            </a:r>
          </a:p>
        </p:txBody>
      </p:sp>
    </p:spTree>
    <p:extLst>
      <p:ext uri="{BB962C8B-B14F-4D97-AF65-F5344CB8AC3E}">
        <p14:creationId xmlns:p14="http://schemas.microsoft.com/office/powerpoint/2010/main" val="7198783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a:t>
            </a:r>
          </a:p>
          <a:p>
            <a:r>
              <a:rPr lang="nb-NO" dirty="0"/>
              <a:t>Utlendingsdirektoratet (UDI) behandler søknaden din om beskyttelse. UDI har også ansvar for at alle som søker om beskyttelse får tilbud om et sted å bo (mottak).  UDI behandler også søknader om besøksvisum, familieinnvandring, arbeidstillatelser, studietillatelser, statsborgerskap, permanent oppholdstillatelse og reisedokumenter. UDI fatter også vedtak om bortvising og utvising.</a:t>
            </a:r>
          </a:p>
          <a:p>
            <a:endParaRPr lang="nb-NO" dirty="0"/>
          </a:p>
          <a:p>
            <a:r>
              <a:rPr lang="nb-NO" dirty="0"/>
              <a:t>Du finner mer informasjon om UDI på www.udi.no. Informasjonen er på norsk og engelsk. </a:t>
            </a:r>
          </a:p>
          <a:p>
            <a:endParaRPr lang="nb-NO" dirty="0"/>
          </a:p>
          <a:p>
            <a:r>
              <a:rPr lang="nb-NO" dirty="0"/>
              <a:t>UDI er en del av norske myndigheter. </a:t>
            </a:r>
          </a:p>
          <a:p>
            <a:endParaRPr lang="nb-NO" dirty="0"/>
          </a:p>
          <a:p>
            <a:r>
              <a:rPr lang="nb-NO" b="1" dirty="0"/>
              <a:t>Taushetsplikt </a:t>
            </a:r>
          </a:p>
          <a:p>
            <a:r>
              <a:rPr lang="nb-NO" dirty="0"/>
              <a:t>UDI har taushetsplikt. Det er straffbart å bryte taushetsplikten.</a:t>
            </a:r>
          </a:p>
          <a:p>
            <a:endParaRPr lang="nb-NO" dirty="0"/>
          </a:p>
          <a:p>
            <a:r>
              <a:rPr lang="nb-NO" b="1" dirty="0"/>
              <a:t>Til deg som holder presentasjonen</a:t>
            </a:r>
          </a:p>
          <a:p>
            <a:r>
              <a:rPr lang="nb-NO" dirty="0"/>
              <a:t>For mer informasjon se www.udi.no</a:t>
            </a:r>
          </a:p>
          <a:p>
            <a:endParaRPr lang="nb-NO" dirty="0"/>
          </a:p>
        </p:txBody>
      </p:sp>
    </p:spTree>
    <p:extLst>
      <p:ext uri="{BB962C8B-B14F-4D97-AF65-F5344CB8AC3E}">
        <p14:creationId xmlns:p14="http://schemas.microsoft.com/office/powerpoint/2010/main" val="25693963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a:t>
            </a:r>
          </a:p>
          <a:p>
            <a:r>
              <a:rPr lang="nb-NO" dirty="0"/>
              <a:t>Hvis UDI bestemmer at du ikke får bli i Norge, får du tilbud om hjelp fra en advokat. Det er UDI som finner advokaten. Advokaten informerer deg om at du ikke får bli i Norge, hjelper deg å vurdere om du skal klage og om du skal sende inn tilleggsinformasjon. </a:t>
            </a:r>
          </a:p>
          <a:p>
            <a:endParaRPr lang="nb-NO" dirty="0"/>
          </a:p>
          <a:p>
            <a:r>
              <a:rPr lang="nb-NO" dirty="0">
                <a:highlight>
                  <a:srgbClr val="FFFF00"/>
                </a:highlight>
              </a:rPr>
              <a:t>Hvis du velger din egen advokat, må advokaten ta kontakt med UDI så tidlig som mulig. Du må kanskje betale for denne advokaten selv. </a:t>
            </a:r>
          </a:p>
          <a:p>
            <a:endParaRPr lang="nb-NO" dirty="0"/>
          </a:p>
          <a:p>
            <a:r>
              <a:rPr lang="nb-NO" dirty="0"/>
              <a:t>Advokaten er ikke en del av norske myndigheter.</a:t>
            </a:r>
          </a:p>
          <a:p>
            <a:endParaRPr lang="nb-NO" dirty="0"/>
          </a:p>
          <a:p>
            <a:r>
              <a:rPr lang="nb-NO" b="1" dirty="0"/>
              <a:t>Taushetsplikt </a:t>
            </a:r>
          </a:p>
          <a:p>
            <a:r>
              <a:rPr lang="nb-NO" dirty="0"/>
              <a:t>Advokaten har taushetsplikt. Det er straffbart å bryte taushetsplikten. </a:t>
            </a:r>
          </a:p>
          <a:p>
            <a:endParaRPr lang="nb-NO" dirty="0"/>
          </a:p>
          <a:p>
            <a:r>
              <a:rPr lang="nb-NO" b="1" dirty="0"/>
              <a:t>Til deg som holder presentasjonen</a:t>
            </a:r>
          </a:p>
          <a:p>
            <a:r>
              <a:rPr lang="nb-NO" dirty="0"/>
              <a:t>For mer informasjon se retningslinje UDI 2018-002 Krav til advokatene i Utlendingsdirektoratets advokatordning. Du finner dokumentet på https://www.udiregelverk.no/</a:t>
            </a:r>
          </a:p>
        </p:txBody>
      </p:sp>
    </p:spTree>
    <p:extLst>
      <p:ext uri="{BB962C8B-B14F-4D97-AF65-F5344CB8AC3E}">
        <p14:creationId xmlns:p14="http://schemas.microsoft.com/office/powerpoint/2010/main" val="40548984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a:t>
            </a:r>
          </a:p>
          <a:p>
            <a:r>
              <a:rPr lang="nb-NO" dirty="0"/>
              <a:t>Integrerings- og mangfoldsdirektoratet (</a:t>
            </a:r>
            <a:r>
              <a:rPr lang="nb-NO" dirty="0" err="1"/>
              <a:t>IMDi</a:t>
            </a:r>
            <a:r>
              <a:rPr lang="nb-NO" dirty="0"/>
              <a:t>) samarbeider med kommuner om bosetting, norskopplæring og samfunnskunnskap.</a:t>
            </a:r>
          </a:p>
          <a:p>
            <a:r>
              <a:rPr lang="nb-NO" dirty="0"/>
              <a:t>Bosetting betyr at norske myndigheter hjelper deg med å finne et sted å bo, hvis du får bli i Norge.</a:t>
            </a:r>
          </a:p>
          <a:p>
            <a:endParaRPr lang="nb-NO" dirty="0"/>
          </a:p>
          <a:p>
            <a:r>
              <a:rPr lang="nb-NO" dirty="0" err="1"/>
              <a:t>IMDi</a:t>
            </a:r>
            <a:r>
              <a:rPr lang="nb-NO" dirty="0"/>
              <a:t> jobber med integrering av personer som får bli i Norge. De har blant annet ansvaret for introduksjonsordningen og norskopplæring for beboere i asylmottak.</a:t>
            </a:r>
          </a:p>
          <a:p>
            <a:endParaRPr lang="nb-NO" dirty="0"/>
          </a:p>
          <a:p>
            <a:r>
              <a:rPr lang="nb-NO" dirty="0"/>
              <a:t>Du finner mer informasjon om </a:t>
            </a:r>
            <a:r>
              <a:rPr lang="nb-NO" dirty="0" err="1"/>
              <a:t>IMDi</a:t>
            </a:r>
            <a:r>
              <a:rPr lang="nb-NO" dirty="0"/>
              <a:t> på www.imdi.no. Informasjonen er på norsk og engelsk.</a:t>
            </a:r>
          </a:p>
          <a:p>
            <a:endParaRPr lang="nb-NO" dirty="0"/>
          </a:p>
          <a:p>
            <a:r>
              <a:rPr lang="nb-NO" dirty="0" err="1"/>
              <a:t>IMDi</a:t>
            </a:r>
            <a:r>
              <a:rPr lang="nb-NO" dirty="0"/>
              <a:t> er en del av norske myndigheter.</a:t>
            </a:r>
          </a:p>
          <a:p>
            <a:endParaRPr lang="nb-NO" dirty="0"/>
          </a:p>
          <a:p>
            <a:r>
              <a:rPr lang="nb-NO" b="1" dirty="0"/>
              <a:t>Taushetsplikt</a:t>
            </a:r>
          </a:p>
          <a:p>
            <a:r>
              <a:rPr lang="nb-NO" dirty="0" err="1"/>
              <a:t>IMDi</a:t>
            </a:r>
            <a:r>
              <a:rPr lang="nb-NO" dirty="0"/>
              <a:t> har taushetsplikt. Det er straffbart å bryte taushetsplikten.</a:t>
            </a:r>
          </a:p>
          <a:p>
            <a:endParaRPr lang="nb-NO" dirty="0"/>
          </a:p>
          <a:p>
            <a:r>
              <a:rPr lang="nb-NO" b="1" dirty="0"/>
              <a:t>Til deg som holder presentasjonen </a:t>
            </a:r>
          </a:p>
          <a:p>
            <a:r>
              <a:rPr lang="nb-NO" dirty="0"/>
              <a:t>For mer informasjon se www.imdi.no </a:t>
            </a:r>
          </a:p>
        </p:txBody>
      </p:sp>
    </p:spTree>
    <p:extLst>
      <p:ext uri="{BB962C8B-B14F-4D97-AF65-F5344CB8AC3E}">
        <p14:creationId xmlns:p14="http://schemas.microsoft.com/office/powerpoint/2010/main" val="17817754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a:t>
            </a:r>
          </a:p>
          <a:p>
            <a:r>
              <a:rPr lang="nb-NO" dirty="0"/>
              <a:t>Hvis du får avslag fra UDI på søknaden din om beskyttelse, og ønsker å klage, er det Utlendingsnemnda (UNE) som behandler klagen din. </a:t>
            </a:r>
          </a:p>
          <a:p>
            <a:endParaRPr lang="nb-NO" dirty="0"/>
          </a:p>
          <a:p>
            <a:r>
              <a:rPr lang="nb-NO" dirty="0"/>
              <a:t>Du finner mer informasjon om UNE på www.une.no. Informasjonen er på flere språk. </a:t>
            </a:r>
          </a:p>
          <a:p>
            <a:endParaRPr lang="nb-NO" dirty="0"/>
          </a:p>
          <a:p>
            <a:r>
              <a:rPr lang="nb-NO" dirty="0"/>
              <a:t>UNE er en del av norske myndigheter. </a:t>
            </a:r>
          </a:p>
          <a:p>
            <a:endParaRPr lang="nb-NO" dirty="0"/>
          </a:p>
          <a:p>
            <a:r>
              <a:rPr lang="nb-NO" b="1" dirty="0"/>
              <a:t>Taushetsplikt </a:t>
            </a:r>
          </a:p>
          <a:p>
            <a:r>
              <a:rPr lang="nb-NO" dirty="0"/>
              <a:t>UNE har taushetsplikt. Det er straffbart å bryte taushetsplikten. </a:t>
            </a:r>
          </a:p>
          <a:p>
            <a:endParaRPr lang="nb-NO" dirty="0"/>
          </a:p>
          <a:p>
            <a:r>
              <a:rPr lang="nb-NO" b="1" dirty="0"/>
              <a:t>Til deg som holder presentasjonen </a:t>
            </a:r>
          </a:p>
          <a:p>
            <a:pPr marL="0" marR="0" lvl="0" indent="0" algn="l" defTabSz="1088776" rtl="0" eaLnBrk="1" fontAlgn="auto" latinLnBrk="0" hangingPunct="1">
              <a:lnSpc>
                <a:spcPct val="100000"/>
              </a:lnSpc>
              <a:spcBef>
                <a:spcPts val="0"/>
              </a:spcBef>
              <a:spcAft>
                <a:spcPts val="0"/>
              </a:spcAft>
              <a:buClrTx/>
              <a:buSzTx/>
              <a:buFontTx/>
              <a:buNone/>
              <a:tabLst/>
              <a:defRPr/>
            </a:pPr>
            <a:r>
              <a:rPr lang="nb-NO" dirty="0"/>
              <a:t>For mer informasjon se www.une.no </a:t>
            </a:r>
          </a:p>
        </p:txBody>
      </p:sp>
    </p:spTree>
    <p:extLst>
      <p:ext uri="{BB962C8B-B14F-4D97-AF65-F5344CB8AC3E}">
        <p14:creationId xmlns:p14="http://schemas.microsoft.com/office/powerpoint/2010/main" val="31997518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62500" lnSpcReduction="20000"/>
          </a:bodyPr>
          <a:lstStyle/>
          <a:p>
            <a:r>
              <a:rPr lang="nb-NO" sz="1100" b="1" dirty="0"/>
              <a:t>Før du holder presentasjonen</a:t>
            </a:r>
          </a:p>
          <a:p>
            <a:pPr marL="171450" indent="-171450">
              <a:buFont typeface="Arial" panose="020B0604020202020204" pitchFamily="34" charset="0"/>
              <a:buChar char="•"/>
            </a:pPr>
            <a:r>
              <a:rPr lang="nb-NO" sz="1100" dirty="0"/>
              <a:t>Her finner du informasjon om hvordan du kan bruke presentasjonen i informasjonsarbeidet i mottak. Du bør lese hele presentasjonen med støttetekst før informasjonsmøtet. </a:t>
            </a:r>
          </a:p>
          <a:p>
            <a:pPr marL="171450" indent="-171450">
              <a:buFont typeface="Arial" panose="020B0604020202020204" pitchFamily="34" charset="0"/>
              <a:buChar char="•"/>
            </a:pPr>
            <a:r>
              <a:rPr lang="nb-NO" sz="1100" dirty="0"/>
              <a:t>Informasjon til beboerne, med støttetekst, begynner på neste lysbilde. </a:t>
            </a:r>
          </a:p>
          <a:p>
            <a:pPr marL="171450" indent="-171450">
              <a:buFont typeface="Arial" panose="020B0604020202020204" pitchFamily="34" charset="0"/>
              <a:buChar char="•"/>
            </a:pPr>
            <a:r>
              <a:rPr lang="nb-NO" sz="1100" dirty="0"/>
              <a:t>Du finner «Til deg som holder presentasjonen» nederst på noen sider. Her finner du utfyllende informasjon, forslag til metode og tips til hvor du finner mer informasjon om temaet.</a:t>
            </a:r>
          </a:p>
          <a:p>
            <a:pPr marL="171450" indent="-171450">
              <a:buFont typeface="Arial" panose="020B0604020202020204" pitchFamily="34" charset="0"/>
              <a:buChar char="•"/>
            </a:pPr>
            <a:r>
              <a:rPr lang="nb-NO" sz="1100" dirty="0"/>
              <a:t>Les veilederen som heter «Veileder for informasjonsarbeid i mottak». Her får du flere forslag til hvordan du kan gjennomføre informasjonsprogrammet og hvordan du kan involvere og engasjere beboerne. Ta kontakt med UDIs </a:t>
            </a:r>
            <a:r>
              <a:rPr lang="nb-NO" sz="1100" dirty="0" err="1"/>
              <a:t>regionkontor</a:t>
            </a:r>
            <a:r>
              <a:rPr lang="nb-NO" sz="1100" dirty="0"/>
              <a:t> hvis du trenger et eksemplar. </a:t>
            </a:r>
          </a:p>
          <a:p>
            <a:endParaRPr lang="nb-NO" sz="1100" dirty="0"/>
          </a:p>
          <a:p>
            <a:r>
              <a:rPr lang="nb-NO" sz="1100" b="1" dirty="0"/>
              <a:t>Innhold i modulene</a:t>
            </a:r>
          </a:p>
          <a:p>
            <a:r>
              <a:rPr lang="nb-NO" sz="1100" dirty="0"/>
              <a:t>Temaene i modulene er hentet fra informasjonsplanen for voksne beboere i asylmottak </a:t>
            </a:r>
          </a:p>
          <a:p>
            <a:endParaRPr lang="nb-NO" sz="1100" dirty="0"/>
          </a:p>
          <a:p>
            <a:r>
              <a:rPr lang="nb-NO" sz="1100" b="1" dirty="0"/>
              <a:t>Målet med modul 3</a:t>
            </a:r>
          </a:p>
          <a:p>
            <a:r>
              <a:rPr lang="nb-NO" sz="1100" dirty="0"/>
              <a:t>Målet med modulen er at beboerne skal få kunnskap om asylprosessen, kjenne rettighetene og pliktene sine, slik at de kan ta informerte valg, å være mest mulig forberedt til bosetting eller retur. De skal vite hvem de møter når de søker om beskyttelse og hva slags oppgaver og ansvar de ulike aktørene har. </a:t>
            </a:r>
          </a:p>
          <a:p>
            <a:endParaRPr lang="nb-NO" sz="1100" dirty="0"/>
          </a:p>
          <a:p>
            <a:r>
              <a:rPr lang="nb-NO" sz="1100" b="1" dirty="0"/>
              <a:t>Presentasjonen er veiledende </a:t>
            </a:r>
          </a:p>
          <a:p>
            <a:r>
              <a:rPr lang="nb-NO" sz="1100" dirty="0"/>
              <a:t>Presentasjonen er veiledende, det som står her er et minimum av informasjon som beboerne skal få.</a:t>
            </a:r>
          </a:p>
          <a:p>
            <a:r>
              <a:rPr lang="nb-NO" sz="1100" dirty="0"/>
              <a:t>  </a:t>
            </a:r>
          </a:p>
          <a:p>
            <a:r>
              <a:rPr lang="nb-NO" sz="1100" b="1" dirty="0"/>
              <a:t>Du kan ikke gjør endringer i presentasjonsmalen</a:t>
            </a:r>
          </a:p>
          <a:p>
            <a:r>
              <a:rPr lang="nb-NO" sz="1100" dirty="0"/>
              <a:t>Du kan ikke gjøre endringer i presentasjonsmalen. Det betyr at du ikke kan legge til eller fjerne noe i presentasjonen som UDI har laget. Det er fordi det er krav til universell utforming og eierskap til illustrasjoner. </a:t>
            </a:r>
          </a:p>
          <a:p>
            <a:endParaRPr lang="nb-NO" sz="1100" dirty="0"/>
          </a:p>
          <a:p>
            <a:r>
              <a:rPr lang="nb-NO" sz="1100" b="1" dirty="0"/>
              <a:t>Støttetekst</a:t>
            </a:r>
          </a:p>
          <a:p>
            <a:r>
              <a:rPr lang="nb-NO" sz="1100" dirty="0"/>
              <a:t>Vi har skrevet støttetekst til hvert lysbilde. Støtteteksten er skrevet i et nøytralt og direkte språk. Det som står i parentes er utfyllende, men ikke nødvendig informasjon. Vi bruker omtrent de samme formuleringene som på www.udi.no.</a:t>
            </a:r>
          </a:p>
          <a:p>
            <a:endParaRPr lang="nb-NO" sz="1100" dirty="0"/>
          </a:p>
          <a:p>
            <a:r>
              <a:rPr lang="nb-NO" sz="1100" b="1" dirty="0"/>
              <a:t>Refleksjonsoppgaver </a:t>
            </a:r>
          </a:p>
          <a:p>
            <a:r>
              <a:rPr lang="nb-NO" sz="1100" dirty="0"/>
              <a:t>Vi har laget refleksjonsoppgaver. Dialog, refleksjon og diskusjon gir god læring. </a:t>
            </a:r>
          </a:p>
          <a:p>
            <a:endParaRPr lang="nb-NO" sz="1100" dirty="0"/>
          </a:p>
          <a:p>
            <a:r>
              <a:rPr lang="nb-NO" sz="1100" b="1" dirty="0"/>
              <a:t>Forslag til metode </a:t>
            </a:r>
          </a:p>
          <a:p>
            <a:r>
              <a:rPr lang="nb-NO" sz="1100" dirty="0"/>
              <a:t>I tillegg til refleksjonsoppgavene har vi forslag til ulike metoder, som å vise film, invitere fagpersoner, gjøre praktiske aktiviteter og lignende.</a:t>
            </a:r>
          </a:p>
          <a:p>
            <a:endParaRPr lang="nb-NO" sz="1100" dirty="0"/>
          </a:p>
          <a:p>
            <a:r>
              <a:rPr lang="nb-NO" sz="1100" b="1" dirty="0"/>
              <a:t>Tid</a:t>
            </a:r>
          </a:p>
          <a:p>
            <a:r>
              <a:rPr lang="nb-NO" sz="1100" dirty="0"/>
              <a:t>Gjennomføring av modul 3 tar 6-8 timer (1 time er 60 minutter), avhengig av hva beboerne vet om temaene, og antall språkgrupper. Start og avslutt presis. Husk å legge inn pauser underveis.</a:t>
            </a:r>
          </a:p>
          <a:p>
            <a:endParaRPr lang="nb-NO" sz="1100" dirty="0"/>
          </a:p>
          <a:p>
            <a:r>
              <a:rPr lang="nb-NO" sz="1100" b="1" dirty="0"/>
              <a:t>Tolk </a:t>
            </a:r>
          </a:p>
          <a:p>
            <a:r>
              <a:rPr lang="nb-NO" sz="1100" dirty="0"/>
              <a:t>Når du bruker tolk er det viktig at du presenterer tolken når møtet starter og forklarer hva som er tolkens rolle. Du kan for eksempel si: </a:t>
            </a:r>
          </a:p>
          <a:p>
            <a:pPr marL="171450" indent="-171450">
              <a:buFont typeface="Arial" panose="020B0604020202020204" pitchFamily="34" charset="0"/>
              <a:buChar char="•"/>
            </a:pPr>
            <a:r>
              <a:rPr lang="nb-NO" sz="1100" dirty="0"/>
              <a:t>Tolken har taushetsplikt.</a:t>
            </a:r>
          </a:p>
          <a:p>
            <a:pPr marL="171450" indent="-171450">
              <a:buFont typeface="Arial" panose="020B0604020202020204" pitchFamily="34" charset="0"/>
              <a:buChar char="•"/>
            </a:pPr>
            <a:r>
              <a:rPr lang="nb-NO" sz="1100" dirty="0"/>
              <a:t>Tolken skal bare tolke det vi sier til hverandre, og ikke utelate, legge til eller endre noe av innholdet.</a:t>
            </a:r>
          </a:p>
          <a:p>
            <a:pPr marL="171450" indent="-171450">
              <a:buFont typeface="Arial" panose="020B0604020202020204" pitchFamily="34" charset="0"/>
              <a:buChar char="•"/>
            </a:pPr>
            <a:r>
              <a:rPr lang="nb-NO" sz="1100" dirty="0"/>
              <a:t>Tolken skal ikke bidra med egne meninger eller råd.</a:t>
            </a:r>
          </a:p>
          <a:p>
            <a:endParaRPr lang="nb-NO" sz="1100" dirty="0"/>
          </a:p>
          <a:p>
            <a:r>
              <a:rPr lang="nb-NO" sz="1100" dirty="0"/>
              <a:t>Tolken skal snakke et språk beboerne forstår. Spør beboerne om de forstår tolken, i begynnelsen av møtet. </a:t>
            </a:r>
          </a:p>
        </p:txBody>
      </p:sp>
    </p:spTree>
    <p:extLst>
      <p:ext uri="{BB962C8B-B14F-4D97-AF65-F5344CB8AC3E}">
        <p14:creationId xmlns:p14="http://schemas.microsoft.com/office/powerpoint/2010/main" val="9370534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92500" lnSpcReduction="10000"/>
          </a:bodyPr>
          <a:lstStyle/>
          <a:p>
            <a:r>
              <a:rPr lang="nb-NO" b="1" dirty="0"/>
              <a:t>Støttetekst</a:t>
            </a:r>
          </a:p>
          <a:p>
            <a:r>
              <a:rPr lang="nb-NO" dirty="0"/>
              <a:t>International Organization for Migration (IOM) er en FN-organisasjon som jobber med migranter over hele verden. IOM hjelper mennesker som ønsker å reise hjem, eller til et annet land de har oppholdstillatelse i. Retur til hjemlandet kan tilrettelegges etter behov.</a:t>
            </a:r>
          </a:p>
          <a:p>
            <a:endParaRPr lang="nb-NO" dirty="0"/>
          </a:p>
          <a:p>
            <a:r>
              <a:rPr lang="nb-NO" dirty="0"/>
              <a:t>Du kan når som helst kontakte IOM for informasjon om å reise hjem (retur). IOM kan gi informasjon om støtteordninger og returprosessen. Du kan søke om hjelp til å reise hjem både før og etter at du har fått svar på søknaden din om beskyttelse. Søknad om hjelp til å reise hjem sendes til UDI. Det er UDI som behandler søknaden. IOM bistår med hjelp og veiledning i forbindelse med reisen hjem.</a:t>
            </a:r>
          </a:p>
          <a:p>
            <a:endParaRPr lang="nb-NO" dirty="0"/>
          </a:p>
          <a:p>
            <a:r>
              <a:rPr lang="nb-NO" dirty="0"/>
              <a:t>Du finner mer informasjon om IOM på www.iom.no. </a:t>
            </a:r>
          </a:p>
          <a:p>
            <a:r>
              <a:rPr lang="nb-NO" dirty="0"/>
              <a:t>Du kan ringe IOM på 23 10 53 20. IOM har ansatte som snakker flere språk. </a:t>
            </a:r>
          </a:p>
          <a:p>
            <a:endParaRPr lang="nb-NO" dirty="0"/>
          </a:p>
          <a:p>
            <a:r>
              <a:rPr lang="nb-NO" dirty="0"/>
              <a:t>IOM er ikke en del av norske myndigheter. </a:t>
            </a:r>
          </a:p>
          <a:p>
            <a:endParaRPr lang="nb-NO" dirty="0"/>
          </a:p>
          <a:p>
            <a:r>
              <a:rPr lang="nb-NO" b="1" dirty="0"/>
              <a:t>Taushetsplikt</a:t>
            </a:r>
          </a:p>
          <a:p>
            <a:r>
              <a:rPr lang="nb-NO" dirty="0"/>
              <a:t>IOM har taushetsplikt. Det er straffbart å bryte taushetsplikten.</a:t>
            </a:r>
          </a:p>
          <a:p>
            <a:endParaRPr lang="nb-NO" dirty="0"/>
          </a:p>
          <a:p>
            <a:r>
              <a:rPr lang="nb-NO" b="1" dirty="0"/>
              <a:t>Til deg som holder presentasjonen </a:t>
            </a:r>
          </a:p>
          <a:p>
            <a:r>
              <a:rPr lang="nb-NO" dirty="0"/>
              <a:t>Beboerne får mer informasjon om IOM hvis de må reise hjem. </a:t>
            </a:r>
          </a:p>
          <a:p>
            <a:r>
              <a:rPr lang="nb-NO" dirty="0"/>
              <a:t>Hvis du skal hjelpe en beboer med å søke, gjøres dette i søknadsportalen på udi.no</a:t>
            </a:r>
          </a:p>
          <a:p>
            <a:endParaRPr lang="nb-NO" dirty="0"/>
          </a:p>
          <a:p>
            <a:r>
              <a:rPr lang="nb-NO" dirty="0"/>
              <a:t>For mer informasjon se www.iom.no</a:t>
            </a:r>
          </a:p>
          <a:p>
            <a:endParaRPr lang="nb-NO" dirty="0"/>
          </a:p>
          <a:p>
            <a:r>
              <a:rPr lang="nb-NO" b="1" dirty="0"/>
              <a:t>Forslag til metode</a:t>
            </a:r>
          </a:p>
          <a:p>
            <a:r>
              <a:rPr lang="nb-NO" dirty="0"/>
              <a:t>Vis på udi.no hvor søknadsportalen er. Informer om at dere på mottaket kan hjelpe med å fylle ut og sende søknaden. </a:t>
            </a:r>
          </a:p>
        </p:txBody>
      </p:sp>
    </p:spTree>
    <p:extLst>
      <p:ext uri="{BB962C8B-B14F-4D97-AF65-F5344CB8AC3E}">
        <p14:creationId xmlns:p14="http://schemas.microsoft.com/office/powerpoint/2010/main" val="14565465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Til deg som holder presentasjonen</a:t>
            </a:r>
          </a:p>
          <a:p>
            <a:r>
              <a:rPr lang="nb-NO" dirty="0"/>
              <a:t>Repeter kort temaene dere har gått igjennom i dag. Rekker du mer enn lysbilde 1-21 på ett møte, venter du med oppsummeringen/evalueringen til slutten av møtet. Still spørsmål til gruppen for å sjekke om informasjon er forstått. Spør om det fortsatt er noe som er uklart, og hvordan møtene kan bli mer nyttige og lærerike.</a:t>
            </a:r>
          </a:p>
          <a:p>
            <a:endParaRPr lang="nb-NO" dirty="0"/>
          </a:p>
          <a:p>
            <a:r>
              <a:rPr lang="nb-NO" b="1" dirty="0"/>
              <a:t>Forslag til spørsmål</a:t>
            </a:r>
          </a:p>
          <a:p>
            <a:pPr marL="171450" indent="-171450">
              <a:buFont typeface="Arial" panose="020B0604020202020204" pitchFamily="34" charset="0"/>
              <a:buChar char="•"/>
            </a:pPr>
            <a:r>
              <a:rPr lang="nb-NO" dirty="0"/>
              <a:t>Hva har du lært?</a:t>
            </a:r>
          </a:p>
          <a:p>
            <a:pPr marL="171450" indent="-171450">
              <a:buFont typeface="Arial" panose="020B0604020202020204" pitchFamily="34" charset="0"/>
              <a:buChar char="•"/>
            </a:pPr>
            <a:r>
              <a:rPr lang="nb-NO" dirty="0"/>
              <a:t>Er det noe du lurer på?</a:t>
            </a:r>
          </a:p>
          <a:p>
            <a:pPr marL="171450" indent="-171450">
              <a:buFont typeface="Arial" panose="020B0604020202020204" pitchFamily="34" charset="0"/>
              <a:buChar char="•"/>
            </a:pPr>
            <a:r>
              <a:rPr lang="nb-NO" dirty="0"/>
              <a:t>Er det noe vi kan forklare bedre?</a:t>
            </a:r>
          </a:p>
          <a:p>
            <a:pPr marL="171450" indent="-171450">
              <a:buFont typeface="Arial" panose="020B0604020202020204" pitchFamily="34" charset="0"/>
              <a:buChar char="•"/>
            </a:pPr>
            <a:r>
              <a:rPr lang="nb-NO" dirty="0"/>
              <a:t>Er det informasjon du savner?</a:t>
            </a:r>
          </a:p>
          <a:p>
            <a:pPr marL="171450" indent="-171450">
              <a:buFont typeface="Arial" panose="020B0604020202020204" pitchFamily="34" charset="0"/>
              <a:buChar char="•"/>
            </a:pPr>
            <a:r>
              <a:rPr lang="nb-NO" dirty="0"/>
              <a:t>Hvordan kan møtene bli mer nyttige og lærerike?</a:t>
            </a:r>
          </a:p>
          <a:p>
            <a:endParaRPr lang="nb-NO" dirty="0"/>
          </a:p>
          <a:p>
            <a:r>
              <a:rPr lang="nb-NO" dirty="0"/>
              <a:t>Til slutt kan du be beboerne om å si en ting de husker fra det dere har snakket om i dag. Styr runden, legg til hvis noe mangler. Hvis noen ikke vil si noe er, det lov å si pass. </a:t>
            </a:r>
          </a:p>
          <a:p>
            <a:endParaRPr lang="nb-NO" dirty="0"/>
          </a:p>
          <a:p>
            <a:pPr marL="0" marR="0" lvl="0" indent="0" algn="l" defTabSz="1088776" rtl="0" eaLnBrk="1" fontAlgn="auto" latinLnBrk="0" hangingPunct="1">
              <a:lnSpc>
                <a:spcPct val="100000"/>
              </a:lnSpc>
              <a:spcBef>
                <a:spcPts val="0"/>
              </a:spcBef>
              <a:spcAft>
                <a:spcPts val="0"/>
              </a:spcAft>
              <a:buClrTx/>
              <a:buSzTx/>
              <a:buFontTx/>
              <a:buNone/>
              <a:tabLst/>
              <a:defRPr/>
            </a:pPr>
            <a:r>
              <a:rPr lang="nb-NO" dirty="0"/>
              <a:t>Husk å si hva som er temaet for neste møte. Spør om det er noe spesielt de vil fokuserer på/vil ha informasjon om. </a:t>
            </a:r>
          </a:p>
          <a:p>
            <a:endParaRPr lang="nb-NO" dirty="0"/>
          </a:p>
        </p:txBody>
      </p:sp>
    </p:spTree>
    <p:extLst>
      <p:ext uri="{BB962C8B-B14F-4D97-AF65-F5344CB8AC3E}">
        <p14:creationId xmlns:p14="http://schemas.microsoft.com/office/powerpoint/2010/main" val="11650612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a:t>
            </a:r>
          </a:p>
          <a:p>
            <a:r>
              <a:rPr lang="nb-NO" dirty="0"/>
              <a:t>Vi skal snakke om da du søkte om beskyttelse. Hva som skjedde, slik at du får oversikt over det som skjer, og hvorfor det skjer.</a:t>
            </a:r>
          </a:p>
        </p:txBody>
      </p:sp>
    </p:spTree>
    <p:extLst>
      <p:ext uri="{BB962C8B-B14F-4D97-AF65-F5344CB8AC3E}">
        <p14:creationId xmlns:p14="http://schemas.microsoft.com/office/powerpoint/2010/main" val="24662598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62500" lnSpcReduction="20000"/>
          </a:bodyPr>
          <a:lstStyle/>
          <a:p>
            <a:r>
              <a:rPr lang="nb-NO" b="1" dirty="0"/>
              <a:t>Støttetekst</a:t>
            </a:r>
          </a:p>
          <a:p>
            <a:r>
              <a:rPr lang="nb-NO" dirty="0"/>
              <a:t>Du søkte beskyttelse hos politiet (Politiets utlendingsenhet). </a:t>
            </a:r>
          </a:p>
          <a:p>
            <a:endParaRPr lang="nb-NO" dirty="0"/>
          </a:p>
          <a:p>
            <a:pPr marL="0" indent="0">
              <a:buFont typeface="Arial" panose="020B0604020202020204" pitchFamily="34" charset="0"/>
              <a:buNone/>
            </a:pPr>
            <a:r>
              <a:rPr lang="nb-NO" dirty="0"/>
              <a:t>Politiet registrerte søknaden din. Du fortalte hvem du er, om familien din, hvor du kommer fra og hvordan du kom til Norge.</a:t>
            </a:r>
          </a:p>
          <a:p>
            <a:pPr marL="0" indent="0">
              <a:buFont typeface="Arial" panose="020B0604020202020204" pitchFamily="34" charset="0"/>
              <a:buNone/>
            </a:pPr>
            <a:r>
              <a:rPr lang="nb-NO" dirty="0"/>
              <a:t>Du måtte levere inn pass og andre dokumenter som viser hvem du er. Politiet tok bilde og fingeravtrykk, for å undersøke om du har blitt registrert i andre land. De undersøkte også bagasjen og mobiltelefonen din. </a:t>
            </a:r>
          </a:p>
          <a:p>
            <a:endParaRPr lang="nb-NO" dirty="0"/>
          </a:p>
          <a:p>
            <a:r>
              <a:rPr lang="nb-NO" b="1" dirty="0"/>
              <a:t>Nasjonalt ankomstsenter (NAS)</a:t>
            </a:r>
          </a:p>
          <a:p>
            <a:r>
              <a:rPr lang="nb-NO" dirty="0"/>
              <a:t>Det første mottaket du bodde på var et ankomstsenter. </a:t>
            </a:r>
          </a:p>
          <a:p>
            <a:endParaRPr lang="nb-NO" dirty="0"/>
          </a:p>
          <a:p>
            <a:r>
              <a:rPr lang="nb-NO" b="1" dirty="0"/>
              <a:t>Tuberkuloseundersøkelse </a:t>
            </a:r>
          </a:p>
          <a:p>
            <a:r>
              <a:rPr lang="nb-NO" dirty="0"/>
              <a:t>På Nasjonalt ankomstsenter ble du undersøkt for tuberkulose. Alle som søker beskyttelse i Norge blir undersøkt og de som trenger det får medisiner. Det er viktig at tuberkulose blir behandlet slik at ikke flere skal bli smittet. Resultatet av undersøkelsen har ingen betydning for om du får bli i Norge eller ikke.</a:t>
            </a:r>
          </a:p>
          <a:p>
            <a:endParaRPr lang="nb-NO" dirty="0"/>
          </a:p>
          <a:p>
            <a:r>
              <a:rPr lang="nb-NO" b="1" dirty="0"/>
              <a:t>Informasjon om rettigheter og plikter</a:t>
            </a:r>
          </a:p>
          <a:p>
            <a:r>
              <a:rPr lang="nb-NO" dirty="0"/>
              <a:t>Du fikk informasjon fra NOAS om asylprosessen, rettighetene og pliktene du har som asylsøker i Norge. Du fikk også informasjon om hva som var viktig å fortelle i asylintervjuet.</a:t>
            </a:r>
          </a:p>
          <a:p>
            <a:endParaRPr lang="nb-NO" dirty="0"/>
          </a:p>
          <a:p>
            <a:r>
              <a:rPr lang="nb-NO" b="1" dirty="0"/>
              <a:t>Flytting til andre mottak  </a:t>
            </a:r>
          </a:p>
          <a:p>
            <a:r>
              <a:rPr lang="nb-NO" dirty="0"/>
              <a:t>Innen 21 dager ble du flyttet til et annet mottak (det kan være unntak fra 21 dager). </a:t>
            </a:r>
          </a:p>
          <a:p>
            <a:endParaRPr lang="nb-NO" dirty="0"/>
          </a:p>
          <a:p>
            <a:r>
              <a:rPr lang="nb-NO" b="1" dirty="0"/>
              <a:t>Asylintervju</a:t>
            </a:r>
          </a:p>
          <a:p>
            <a:r>
              <a:rPr lang="nb-NO" dirty="0"/>
              <a:t>Du ble intervjuet av saksbehandler i UDI. Asylintervjuet var din mulighet til å fortelle hvorfor du dro fra hjemlandet ditt, og hva du tror kan skje med deg hvis du reiser tilbake. UDI bruker blant annet informasjonen fra intervjuet når de behandler søknaden din. </a:t>
            </a:r>
          </a:p>
          <a:p>
            <a:endParaRPr lang="nb-NO" dirty="0"/>
          </a:p>
          <a:p>
            <a:r>
              <a:rPr lang="nb-NO" b="1" dirty="0"/>
              <a:t>Samtale med barn</a:t>
            </a:r>
          </a:p>
          <a:p>
            <a:r>
              <a:rPr lang="nb-NO" dirty="0"/>
              <a:t>Hvis du søkte sammen med barn under 18 år fikk barnet tilbud om å snakke med UDI (eller politiet). Her kan det forekomme unntak.</a:t>
            </a:r>
          </a:p>
          <a:p>
            <a:endParaRPr lang="nb-NO" dirty="0"/>
          </a:p>
          <a:p>
            <a:r>
              <a:rPr lang="nb-NO" b="1" dirty="0"/>
              <a:t>Etter asylintervju </a:t>
            </a:r>
          </a:p>
          <a:p>
            <a:r>
              <a:rPr lang="nb-NO" dirty="0"/>
              <a:t>Noen får svar på søknaden sin når de bor på ankomstsenteret og kan flytte rett til kommune. Noen flytter til ordinært mottak og noen flytter til et integreringsmottak etter asylintervjuet. Her bor du når du venter på svar på søknaden din, venter på bosetting eller på å reise hjem (retur).</a:t>
            </a:r>
          </a:p>
          <a:p>
            <a:endParaRPr lang="nb-NO" dirty="0"/>
          </a:p>
          <a:p>
            <a:r>
              <a:rPr lang="nb-NO" b="1" dirty="0"/>
              <a:t>Til deg som holder presentasjonen</a:t>
            </a:r>
          </a:p>
          <a:p>
            <a:pPr marL="171450" indent="-171450">
              <a:buFont typeface="Arial" panose="020B0604020202020204" pitchFamily="34" charset="0"/>
              <a:buChar char="•"/>
            </a:pPr>
            <a:r>
              <a:rPr lang="nb-NO" dirty="0"/>
              <a:t>Fortell beboerne hva slags mottak de bor på nå. </a:t>
            </a:r>
          </a:p>
          <a:p>
            <a:pPr marL="171450" indent="-171450">
              <a:buFont typeface="Arial" panose="020B0604020202020204" pitchFamily="34" charset="0"/>
              <a:buChar char="•"/>
            </a:pPr>
            <a:r>
              <a:rPr lang="nb-NO" dirty="0"/>
              <a:t>Hvis noen har spørsmål om integreringsmottak finner du mer informasjon om det på https://www.udi.no/asylmottak/bor-eller-onsker-a-bo-i-et-asylmottak/integreringsmottak/</a:t>
            </a:r>
          </a:p>
          <a:p>
            <a:pPr marL="171450" indent="-171450">
              <a:buFont typeface="Arial" panose="020B0604020202020204" pitchFamily="34" charset="0"/>
              <a:buChar char="•"/>
            </a:pPr>
            <a:r>
              <a:rPr lang="nb-NO" dirty="0"/>
              <a:t>I noen situasjoner kan beboere ha blitt intervjuet av politiet, dette påvirker ikke saksbehandlingen.</a:t>
            </a:r>
          </a:p>
          <a:p>
            <a:pPr marL="171450" indent="-171450">
              <a:buFont typeface="Arial" panose="020B0604020202020204" pitchFamily="34" charset="0"/>
              <a:buChar char="•"/>
            </a:pPr>
            <a:r>
              <a:rPr lang="nb-NO" dirty="0"/>
              <a:t>Det har vært diskutert en begrepsendring fra «intervju» til «kunnskapsbasert samtale». Vær oppmerksom på at det kan komme spørsmål om det. </a:t>
            </a:r>
          </a:p>
        </p:txBody>
      </p:sp>
    </p:spTree>
    <p:extLst>
      <p:ext uri="{BB962C8B-B14F-4D97-AF65-F5344CB8AC3E}">
        <p14:creationId xmlns:p14="http://schemas.microsoft.com/office/powerpoint/2010/main" val="4077699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r>
              <a:rPr lang="nb-NO" b="1" dirty="0"/>
              <a:t>Støttetekst </a:t>
            </a:r>
          </a:p>
          <a:p>
            <a:r>
              <a:rPr lang="nb-NO" dirty="0"/>
              <a:t>Det er ikke alle søknader som blir behandlet i Norge. Norge samarbeider med mange europeiske land (EU-landene, Island, Sveits, Liechtenstein) for å avgjøre hvilket land som skal behandle søknaden om beskyttelse. Dette kalles Dublin-samarbeidet.</a:t>
            </a:r>
          </a:p>
          <a:p>
            <a:endParaRPr lang="nb-NO" dirty="0"/>
          </a:p>
          <a:p>
            <a:pPr marL="0" indent="0">
              <a:buFont typeface="Arial" panose="020B0604020202020204" pitchFamily="34" charset="0"/>
              <a:buNone/>
            </a:pPr>
            <a:r>
              <a:rPr lang="nb-NO" dirty="0"/>
              <a:t>Søknaden din kan bli behandlet i et annet land i Dublin-samarbeidet hvis du </a:t>
            </a:r>
          </a:p>
          <a:p>
            <a:pPr marL="171450" indent="-171450">
              <a:buFont typeface="Arial" panose="020B0604020202020204" pitchFamily="34" charset="0"/>
              <a:buChar char="•"/>
            </a:pPr>
            <a:r>
              <a:rPr lang="nb-NO" dirty="0"/>
              <a:t>har søkt beskyttelse eller har oppholdt deg i fem måneder eller mer i et annet Dublin-land</a:t>
            </a:r>
          </a:p>
          <a:p>
            <a:pPr marL="171450" indent="-171450">
              <a:buFont typeface="Arial" panose="020B0604020202020204" pitchFamily="34" charset="0"/>
              <a:buChar char="•"/>
            </a:pPr>
            <a:r>
              <a:rPr lang="nb-NO" dirty="0"/>
              <a:t>er registrert med fingeravtrykk i et annet land i Dublin-samarbeidet </a:t>
            </a:r>
          </a:p>
          <a:p>
            <a:pPr marL="171450" indent="-171450">
              <a:buFont typeface="Arial" panose="020B0604020202020204" pitchFamily="34" charset="0"/>
              <a:buChar char="•"/>
            </a:pPr>
            <a:r>
              <a:rPr lang="nb-NO" dirty="0"/>
              <a:t>har fått visum, eller har oppholdstillatelse i et annet land i Dublin-samarbeidet</a:t>
            </a:r>
          </a:p>
          <a:p>
            <a:pPr marL="171450" indent="-171450">
              <a:buFont typeface="Arial" panose="020B0604020202020204" pitchFamily="34" charset="0"/>
              <a:buChar char="•"/>
            </a:pPr>
            <a:r>
              <a:rPr lang="nb-NO" dirty="0"/>
              <a:t>har kjernefamilie som har søkt eller fått beskyttelse i et annet land i Dublin-samarbeidet</a:t>
            </a:r>
          </a:p>
          <a:p>
            <a:r>
              <a:rPr lang="nb-NO" dirty="0"/>
              <a:t> </a:t>
            </a:r>
          </a:p>
          <a:p>
            <a:r>
              <a:rPr lang="nb-NO" dirty="0"/>
              <a:t>Det er UDI som vurderer om saken din skal behandles etter Dublin-regelverket. Du får brev fra UDI hvis dette gjelder deg. </a:t>
            </a:r>
          </a:p>
          <a:p>
            <a:endParaRPr lang="nb-NO" dirty="0"/>
          </a:p>
          <a:p>
            <a:r>
              <a:rPr lang="nb-NO" b="1" dirty="0"/>
              <a:t>Trygt tredjeland</a:t>
            </a:r>
          </a:p>
          <a:p>
            <a:r>
              <a:rPr lang="nb-NO" dirty="0"/>
              <a:t>UDI behandler ikke søknader om beskyttelse hvis du har fått beskyttelse i et annet land. UDI behandler heller ikke søknader om beskyttelse hvis du har oppholdt deg i et land der du ikke var forfulgt.</a:t>
            </a:r>
          </a:p>
          <a:p>
            <a:endParaRPr lang="nb-NO" dirty="0"/>
          </a:p>
          <a:p>
            <a:r>
              <a:rPr lang="nb-NO" b="1" dirty="0"/>
              <a:t>Til deg som holder presentasjonen</a:t>
            </a:r>
          </a:p>
          <a:p>
            <a:r>
              <a:rPr lang="nb-NO" dirty="0"/>
              <a:t>Du kan få mer informasjon om Dublin-samarbeidet på www.udi.no og i filmen, Hva er Dublinavtalen?: https://www.youtube.com/watch?v=orDFklx_IS8</a:t>
            </a:r>
          </a:p>
          <a:p>
            <a:endParaRPr lang="nb-NO" dirty="0"/>
          </a:p>
        </p:txBody>
      </p:sp>
    </p:spTree>
    <p:extLst>
      <p:ext uri="{BB962C8B-B14F-4D97-AF65-F5344CB8AC3E}">
        <p14:creationId xmlns:p14="http://schemas.microsoft.com/office/powerpoint/2010/main" val="23238748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r>
              <a:rPr lang="nb-NO" b="1" dirty="0"/>
              <a:t>Støttetekst</a:t>
            </a:r>
          </a:p>
          <a:p>
            <a:r>
              <a:rPr lang="nb-NO" dirty="0"/>
              <a:t>Vi skal snakke om </a:t>
            </a:r>
          </a:p>
          <a:p>
            <a:pPr marL="171450" indent="-171450">
              <a:buFont typeface="Arial" panose="020B0604020202020204" pitchFamily="34" charset="0"/>
              <a:buChar char="•"/>
            </a:pPr>
            <a:r>
              <a:rPr lang="nb-NO" dirty="0"/>
              <a:t>det som skjer mens du venter på svar</a:t>
            </a:r>
          </a:p>
          <a:p>
            <a:pPr marL="171450" indent="-171450">
              <a:buFont typeface="Arial" panose="020B0604020202020204" pitchFamily="34" charset="0"/>
              <a:buChar char="•"/>
            </a:pPr>
            <a:r>
              <a:rPr lang="nb-NO" dirty="0"/>
              <a:t>hva du selv kan gjøre</a:t>
            </a:r>
          </a:p>
          <a:p>
            <a:pPr marL="171450" indent="-171450">
              <a:buFont typeface="Arial" panose="020B0604020202020204" pitchFamily="34" charset="0"/>
              <a:buChar char="•"/>
            </a:pPr>
            <a:r>
              <a:rPr lang="nb-NO" dirty="0"/>
              <a:t>hvem som behandler søknaden din </a:t>
            </a:r>
          </a:p>
          <a:p>
            <a:pPr marL="171450" indent="-171450">
              <a:buFont typeface="Arial" panose="020B0604020202020204" pitchFamily="34" charset="0"/>
              <a:buChar char="•"/>
            </a:pPr>
            <a:r>
              <a:rPr lang="nb-NO" dirty="0"/>
              <a:t>hvor lenge du må vente på svar </a:t>
            </a:r>
          </a:p>
          <a:p>
            <a:endParaRPr lang="nb-NO" dirty="0"/>
          </a:p>
        </p:txBody>
      </p:sp>
    </p:spTree>
    <p:extLst>
      <p:ext uri="{BB962C8B-B14F-4D97-AF65-F5344CB8AC3E}">
        <p14:creationId xmlns:p14="http://schemas.microsoft.com/office/powerpoint/2010/main" val="39149729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92500" lnSpcReduction="20000"/>
          </a:bodyPr>
          <a:lstStyle/>
          <a:p>
            <a:r>
              <a:rPr lang="nb-NO" b="1" dirty="0"/>
              <a:t>Støttetekst</a:t>
            </a:r>
          </a:p>
          <a:p>
            <a:r>
              <a:rPr lang="nb-NO" dirty="0"/>
              <a:t>Du har plikt til å fortelle sannheten til norske myndigheter. Plikten gjelder blant annet til politiet, UDI og UNE.  </a:t>
            </a:r>
          </a:p>
          <a:p>
            <a:r>
              <a:rPr lang="nb-NO" dirty="0"/>
              <a:t>Hvis du gir uriktige opplysninger, kan dette få betydning for søknaden din om beskyttelse og andre søknader fra deg, eller familien din, senere. </a:t>
            </a:r>
          </a:p>
          <a:p>
            <a:endParaRPr lang="nb-NO" dirty="0"/>
          </a:p>
          <a:p>
            <a:r>
              <a:rPr lang="nb-NO" dirty="0"/>
              <a:t>Hvis du har nye opplysninger eller det er noe du ikke sa i asylintervjuet, er det viktig at du sender opplysningene til UDI. Legg ved en forklaring på hvorfor du ikke har gitt disse opplysningene tidligere. Husk å skriv navnet og DUF-nummeret ditt. For eksempel kan opplysninger om helse og andre former for sårbarhet ha betydning for UDIs vurdering. Helseopplysninger bør dokumenteres av helsepersonell i Norge, så langt det er mulig. Helseopplysninger blir ikke "automatisk" kjent for UDI, selv om du har vært i kontakt med helsetjenesten i Norge.</a:t>
            </a:r>
          </a:p>
          <a:p>
            <a:endParaRPr lang="nb-NO" dirty="0"/>
          </a:p>
          <a:p>
            <a:r>
              <a:rPr lang="nb-NO" b="1" dirty="0"/>
              <a:t>Levere dokumenter til politiet </a:t>
            </a:r>
          </a:p>
          <a:p>
            <a:r>
              <a:rPr lang="nb-NO" dirty="0"/>
              <a:t>Du har plikt til å dokumentere hvem du er (til å avklare identiteten din). Har du originale ID-dokumenter, eller kopier, som du ikke har levert inn, skal du levere dem til politiet der du bor. Det gjelder også hvis du har/kan skaffe andre dokumenter som kan vise hvem du er. Det er lurt å beholde en kopi av dokumentene selv. </a:t>
            </a:r>
          </a:p>
          <a:p>
            <a:endParaRPr lang="nb-NO" dirty="0"/>
          </a:p>
          <a:p>
            <a:r>
              <a:rPr lang="nb-NO" b="1" dirty="0"/>
              <a:t>Levere kopier av dokumenter til UDI </a:t>
            </a:r>
          </a:p>
          <a:p>
            <a:r>
              <a:rPr lang="nb-NO" dirty="0"/>
              <a:t>Har du andre dokumenter som er viktige for søknaden din, kan du sende kopi til UDI. Du beholder originalen selv. Du må kort forklare hva saken gjelder, helst på norsk eller engelsk. Huske å skrive navnet og DUF-nummeret ditt på alle dokumentene. Hvis du sender inn dokumenter på ditt eget språk er det ekstra viktig at du kort forklarer hva dokumentasjonen gjelder. Dokumentene oversettes ikke automatisk.</a:t>
            </a:r>
          </a:p>
          <a:p>
            <a:endParaRPr lang="nb-NO" dirty="0"/>
          </a:p>
          <a:p>
            <a:r>
              <a:rPr lang="nb-NO" b="1" dirty="0"/>
              <a:t>Til deg som holder presentasjonen</a:t>
            </a:r>
          </a:p>
          <a:p>
            <a:pPr marL="171450" indent="-171450">
              <a:buFont typeface="Arial" panose="020B0604020202020204" pitchFamily="34" charset="0"/>
              <a:buChar char="•"/>
            </a:pPr>
            <a:r>
              <a:rPr lang="nb-NO" dirty="0"/>
              <a:t>Forklar hvor nærmeste politistasjon er.</a:t>
            </a:r>
          </a:p>
          <a:p>
            <a:pPr marL="171450" indent="-171450">
              <a:buFont typeface="Arial" panose="020B0604020202020204" pitchFamily="34" charset="0"/>
              <a:buChar char="•"/>
            </a:pPr>
            <a:r>
              <a:rPr lang="nb-NO" dirty="0"/>
              <a:t>Ved behov, repeter informasjon om asylintervjuet.</a:t>
            </a:r>
          </a:p>
          <a:p>
            <a:pPr marL="171450" indent="-171450">
              <a:buFont typeface="Arial" panose="020B0604020202020204" pitchFamily="34" charset="0"/>
              <a:buChar char="•"/>
            </a:pPr>
            <a:r>
              <a:rPr lang="nb-NO" dirty="0"/>
              <a:t>Du får mer informasjon om hvordan beboerne kan sende inn dokumenter til asylsaken på: https://www.udi.no/ord-og-begreper/ettersende-dokumenter/asylsaker-og-utvisningssaker/</a:t>
            </a:r>
          </a:p>
        </p:txBody>
      </p:sp>
    </p:spTree>
    <p:extLst>
      <p:ext uri="{BB962C8B-B14F-4D97-AF65-F5344CB8AC3E}">
        <p14:creationId xmlns:p14="http://schemas.microsoft.com/office/powerpoint/2010/main" val="15806652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62500" lnSpcReduction="20000"/>
          </a:bodyPr>
          <a:lstStyle/>
          <a:p>
            <a:r>
              <a:rPr lang="nb-NO" b="1" dirty="0"/>
              <a:t>Støttetekst</a:t>
            </a:r>
          </a:p>
          <a:p>
            <a:r>
              <a:rPr lang="nb-NO" dirty="0"/>
              <a:t>For at du skal ha lov til å jobbe mens du venter på svar (er asylsøker) må du ha en midlertidig arbeidstillatelse.</a:t>
            </a:r>
          </a:p>
          <a:p>
            <a:endParaRPr lang="nb-NO" dirty="0"/>
          </a:p>
          <a:p>
            <a:r>
              <a:rPr lang="nb-NO" dirty="0"/>
              <a:t>Du kan få midlertidig arbeidstillatelse mens du er asylsøker hvis</a:t>
            </a:r>
          </a:p>
          <a:p>
            <a:pPr marL="171450" indent="-171450">
              <a:buFont typeface="Arial" panose="020B0604020202020204" pitchFamily="34" charset="0"/>
              <a:buChar char="•"/>
            </a:pPr>
            <a:r>
              <a:rPr lang="nb-NO" dirty="0"/>
              <a:t>du har vært på asylintervju </a:t>
            </a:r>
          </a:p>
          <a:p>
            <a:pPr marL="171450" indent="-171450">
              <a:buFont typeface="Arial" panose="020B0604020202020204" pitchFamily="34" charset="0"/>
              <a:buChar char="•"/>
            </a:pPr>
            <a:r>
              <a:rPr lang="nb-NO" dirty="0"/>
              <a:t>du har gyldig pass (eller bor på integreringsmottak, og UDI ikke er i tvil om identiteten din) </a:t>
            </a:r>
          </a:p>
          <a:p>
            <a:pPr marL="171450" indent="-171450">
              <a:buFont typeface="Arial" panose="020B0604020202020204" pitchFamily="34" charset="0"/>
              <a:buChar char="•"/>
            </a:pPr>
            <a:r>
              <a:rPr lang="nb-NO" dirty="0"/>
              <a:t>du ikke har fått svar fra UDI på søknaden din om beskyttelse </a:t>
            </a:r>
          </a:p>
          <a:p>
            <a:endParaRPr lang="nb-NO" dirty="0"/>
          </a:p>
          <a:p>
            <a:r>
              <a:rPr lang="nb-NO" dirty="0"/>
              <a:t>Du kan ikke få midlertidig arbeidstillatelse mens du er asylsøker hvis</a:t>
            </a:r>
          </a:p>
          <a:p>
            <a:pPr marL="171450" indent="-171450">
              <a:buFont typeface="Arial" panose="020B0604020202020204" pitchFamily="34" charset="0"/>
              <a:buChar char="•"/>
            </a:pPr>
            <a:r>
              <a:rPr lang="nb-NO" dirty="0"/>
              <a:t>du ikke har vært på asylintervju </a:t>
            </a:r>
          </a:p>
          <a:p>
            <a:pPr marL="171450" indent="-171450">
              <a:buFont typeface="Arial" panose="020B0604020202020204" pitchFamily="34" charset="0"/>
              <a:buChar char="•"/>
            </a:pPr>
            <a:r>
              <a:rPr lang="nb-NO" dirty="0"/>
              <a:t>du ikke har gyldig pass (eller bor på integreringsmottak, og UDI er i tvil om identiteten din)</a:t>
            </a:r>
          </a:p>
          <a:p>
            <a:pPr marL="171450" indent="-171450">
              <a:buFont typeface="Arial" panose="020B0604020202020204" pitchFamily="34" charset="0"/>
              <a:buChar char="•"/>
            </a:pPr>
            <a:r>
              <a:rPr lang="nb-NO" dirty="0"/>
              <a:t>du skal sendes til et annet europeisk land (Dublin-samarbeidet)</a:t>
            </a:r>
          </a:p>
          <a:p>
            <a:pPr marL="171450" indent="-171450">
              <a:buFont typeface="Arial" panose="020B0604020202020204" pitchFamily="34" charset="0"/>
              <a:buChar char="•"/>
            </a:pPr>
            <a:r>
              <a:rPr lang="nb-NO" dirty="0"/>
              <a:t>du har fått avslag på søknaden din om beskyttelse</a:t>
            </a:r>
          </a:p>
          <a:p>
            <a:endParaRPr lang="nb-NO" dirty="0"/>
          </a:p>
          <a:p>
            <a:r>
              <a:rPr lang="nb-NO" dirty="0"/>
              <a:t>Slik søker du om arbeidstillatelse:</a:t>
            </a:r>
          </a:p>
          <a:p>
            <a:pPr marL="171450" indent="-171450">
              <a:buFont typeface="Arial" panose="020B0604020202020204" pitchFamily="34" charset="0"/>
              <a:buChar char="•"/>
            </a:pPr>
            <a:r>
              <a:rPr lang="nb-NO" dirty="0"/>
              <a:t>Du fyller ut skjema for asylsøkere som ønsker arbeidstillatelse.</a:t>
            </a:r>
          </a:p>
          <a:p>
            <a:pPr marL="171450" indent="-171450">
              <a:buFont typeface="Arial" panose="020B0604020202020204" pitchFamily="34" charset="0"/>
              <a:buChar char="•"/>
            </a:pPr>
            <a:r>
              <a:rPr lang="nb-NO" dirty="0"/>
              <a:t>Du leverer skjemaet til politiet der du bor. </a:t>
            </a:r>
          </a:p>
          <a:p>
            <a:pPr marL="171450" indent="-171450">
              <a:buFont typeface="Arial" panose="020B0604020202020204" pitchFamily="34" charset="0"/>
              <a:buChar char="•"/>
            </a:pPr>
            <a:r>
              <a:rPr lang="nb-NO" dirty="0"/>
              <a:t>Du må vise gyldig pass hvis du ikke har levert det til politiet.</a:t>
            </a:r>
          </a:p>
          <a:p>
            <a:pPr marL="171450" indent="-171450">
              <a:buFont typeface="Arial" panose="020B0604020202020204" pitchFamily="34" charset="0"/>
              <a:buChar char="•"/>
            </a:pPr>
            <a:r>
              <a:rPr lang="nb-NO" dirty="0"/>
              <a:t>Du må som regel ha vært på asylintervju (finnes unntak for noen nasjonaliteter, se www.udi.no). </a:t>
            </a:r>
          </a:p>
          <a:p>
            <a:pPr marL="171450" indent="-171450">
              <a:buFont typeface="Arial" panose="020B0604020202020204" pitchFamily="34" charset="0"/>
              <a:buChar char="•"/>
            </a:pPr>
            <a:r>
              <a:rPr lang="nb-NO" dirty="0"/>
              <a:t>Du betaler ikke noe for å søke.</a:t>
            </a:r>
          </a:p>
          <a:p>
            <a:endParaRPr lang="nb-NO" dirty="0"/>
          </a:p>
          <a:p>
            <a:r>
              <a:rPr lang="nb-NO" dirty="0"/>
              <a:t>Hvis du får en midlertidig arbeidstillatelse betyr det ikke at du får bli i Norge. </a:t>
            </a:r>
          </a:p>
          <a:p>
            <a:endParaRPr lang="nb-NO" dirty="0"/>
          </a:p>
          <a:p>
            <a:r>
              <a:rPr lang="nb-NO" b="1" dirty="0"/>
              <a:t>Hvis du arbeider uten å ha tillatelse</a:t>
            </a:r>
          </a:p>
          <a:p>
            <a:r>
              <a:rPr lang="nb-NO" dirty="0"/>
              <a:t>Hvis du arbeider uten å ha midlertidig arbeidstillatelse, bryter du norsk lov. Det kan få konsekvenser for søknaden din om beskyttelse.</a:t>
            </a:r>
          </a:p>
          <a:p>
            <a:endParaRPr lang="nb-NO" dirty="0"/>
          </a:p>
          <a:p>
            <a:r>
              <a:rPr lang="nb-NO" b="1" dirty="0"/>
              <a:t>Frivillig arbeid </a:t>
            </a:r>
          </a:p>
          <a:p>
            <a:r>
              <a:rPr lang="nb-NO" dirty="0"/>
              <a:t>Det er strenge regler for hva som er frivillig arbeid. </a:t>
            </a:r>
          </a:p>
          <a:p>
            <a:pPr marL="171450" indent="-171450">
              <a:buFont typeface="Arial" panose="020B0604020202020204" pitchFamily="34" charset="0"/>
              <a:buChar char="•"/>
            </a:pPr>
            <a:r>
              <a:rPr lang="nb-NO" dirty="0"/>
              <a:t>Oppgavene du gjør må være oppgaver ingen vanligvis får betalt for å gjøre.</a:t>
            </a:r>
          </a:p>
          <a:p>
            <a:pPr marL="171450" indent="-171450">
              <a:buFont typeface="Arial" panose="020B0604020202020204" pitchFamily="34" charset="0"/>
              <a:buChar char="•"/>
            </a:pPr>
            <a:r>
              <a:rPr lang="nb-NO" dirty="0"/>
              <a:t>Det må være arbeid som er organisert av en humanitær, ideell eller religiøs organisasjon. Det kan også være frivillige lag og foreninger.</a:t>
            </a:r>
          </a:p>
          <a:p>
            <a:pPr marL="171450" indent="-171450">
              <a:buFont typeface="Arial" panose="020B0604020202020204" pitchFamily="34" charset="0"/>
              <a:buChar char="•"/>
            </a:pPr>
            <a:r>
              <a:rPr lang="nb-NO" dirty="0"/>
              <a:t>Det må være arbeid du selv har valgt at du vil gjøre.</a:t>
            </a:r>
          </a:p>
          <a:p>
            <a:pPr marL="171450" indent="-171450">
              <a:buFont typeface="Arial" panose="020B0604020202020204" pitchFamily="34" charset="0"/>
              <a:buChar char="•"/>
            </a:pPr>
            <a:r>
              <a:rPr lang="nb-NO" dirty="0"/>
              <a:t>Det må være arbeid du ikke får lønn eller annen kompensasjon for.</a:t>
            </a:r>
          </a:p>
          <a:p>
            <a:pPr marL="171450" indent="-171450">
              <a:buFont typeface="Arial" panose="020B0604020202020204" pitchFamily="34" charset="0"/>
              <a:buChar char="•"/>
            </a:pPr>
            <a:r>
              <a:rPr lang="nb-NO" dirty="0"/>
              <a:t>Du kan ikke arbeide frivillig mer enn 30 timer i uken.</a:t>
            </a:r>
          </a:p>
          <a:p>
            <a:endParaRPr lang="nb-NO" dirty="0"/>
          </a:p>
          <a:p>
            <a:r>
              <a:rPr lang="nb-NO" dirty="0"/>
              <a:t>Du trenger ikke arbeidstillatelse for å delta i frivillig arbeid. </a:t>
            </a:r>
          </a:p>
          <a:p>
            <a:endParaRPr lang="nb-NO" dirty="0"/>
          </a:p>
          <a:p>
            <a:r>
              <a:rPr lang="nb-NO" b="1" dirty="0"/>
              <a:t>Til deg som holder presentasjonen</a:t>
            </a:r>
          </a:p>
          <a:p>
            <a:r>
              <a:rPr lang="nb-NO" dirty="0"/>
              <a:t>Gjør deg kjent med arbeidsmulighetene i lokalsamfunnet og informer om hvilke muligheter som er der. </a:t>
            </a:r>
          </a:p>
          <a:p>
            <a:endParaRPr lang="nb-NO" dirty="0"/>
          </a:p>
          <a:p>
            <a:r>
              <a:rPr lang="nb-NO" dirty="0"/>
              <a:t>Du kan lese mer om midlertidig arbeidstillatelse her: </a:t>
            </a:r>
          </a:p>
          <a:p>
            <a:pPr marL="171450" indent="-171450">
              <a:buFont typeface="Arial" panose="020B0604020202020204" pitchFamily="34" charset="0"/>
              <a:buChar char="•"/>
            </a:pPr>
            <a:r>
              <a:rPr lang="nb-NO" dirty="0"/>
              <a:t>Retningslinje UDI 2010-180 Rett til å ta arbeid for asylsøkere. Du finner dokumentet på https://www.udiregelverk.no/</a:t>
            </a:r>
          </a:p>
          <a:p>
            <a:pPr marL="171450" indent="-171450">
              <a:buFont typeface="Arial" panose="020B0604020202020204" pitchFamily="34" charset="0"/>
              <a:buChar char="•"/>
            </a:pPr>
            <a:r>
              <a:rPr lang="nb-NO" dirty="0"/>
              <a:t>Kan du jobbe? Spørsmål og svar finner du på www.udi.no: https://www.udi.no/har-sokt/beskyttelse-asyl/kan-du-jobbe/#link-8814</a:t>
            </a:r>
          </a:p>
          <a:p>
            <a:endParaRPr lang="nb-NO" dirty="0"/>
          </a:p>
          <a:p>
            <a:r>
              <a:rPr lang="nb-NO" dirty="0"/>
              <a:t>Her finner du skjema for asylsøkere som ønsker arbeidstillatelse: https://www.udi.no/globalassets/global/skjemaer/arbeidstillatelse-asylsokere.pdf</a:t>
            </a:r>
          </a:p>
        </p:txBody>
      </p:sp>
    </p:spTree>
    <p:extLst>
      <p:ext uri="{BB962C8B-B14F-4D97-AF65-F5344CB8AC3E}">
        <p14:creationId xmlns:p14="http://schemas.microsoft.com/office/powerpoint/2010/main" val="33628563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r>
              <a:rPr lang="nb-NO" b="1" dirty="0"/>
              <a:t>Støttetekst</a:t>
            </a:r>
          </a:p>
          <a:p>
            <a:r>
              <a:rPr lang="nb-NO" dirty="0"/>
              <a:t>Hvis du får bli i Norge kan dine nærmeste familiemedlemmer søke om å få komme til Norge. Nærmeste familie er ektefelle eller samboer og barn under 18 år, som du hadde før du kom til Norge. Hva som gjelder for deg står i brevet du får fra UDI (vedtaket).</a:t>
            </a:r>
          </a:p>
          <a:p>
            <a:endParaRPr lang="nb-NO" dirty="0"/>
          </a:p>
          <a:p>
            <a:r>
              <a:rPr lang="nb-NO" dirty="0"/>
              <a:t>Familien din kan ikke søke når du venter på svar. </a:t>
            </a:r>
          </a:p>
          <a:p>
            <a:endParaRPr lang="nb-NO" dirty="0"/>
          </a:p>
          <a:p>
            <a:r>
              <a:rPr lang="nb-NO" b="1" dirty="0"/>
              <a:t>Til deg som holder presentasjonen</a:t>
            </a:r>
          </a:p>
          <a:p>
            <a:r>
              <a:rPr lang="nb-NO" dirty="0"/>
              <a:t>Du finner mer informasjon om familieinnvandring i modul 11. </a:t>
            </a:r>
          </a:p>
        </p:txBody>
      </p:sp>
    </p:spTree>
    <p:extLst>
      <p:ext uri="{BB962C8B-B14F-4D97-AF65-F5344CB8AC3E}">
        <p14:creationId xmlns:p14="http://schemas.microsoft.com/office/powerpoint/2010/main" val="30818219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 </a:t>
            </a:r>
          </a:p>
          <a:p>
            <a:r>
              <a:rPr lang="nb-NO" dirty="0"/>
              <a:t>Du får 175 timer norskopplæring og 50 timer opplæring i norsk kultur og norske verdier. Denne opplæringen er i tillegg til informasjonsmøtene (informasjonsprogrammet) på mottaket. </a:t>
            </a:r>
          </a:p>
          <a:p>
            <a:endParaRPr lang="nb-NO" dirty="0"/>
          </a:p>
          <a:p>
            <a:r>
              <a:rPr lang="nb-NO" dirty="0"/>
              <a:t>Når du er over 16 år har du plikt til å delta i opplæringen. Voksne og barn over 16 år kan gå på samme kurs. Det er kommunen som har ansvaret for opplæringen. </a:t>
            </a:r>
          </a:p>
          <a:p>
            <a:endParaRPr lang="nb-NO" dirty="0"/>
          </a:p>
          <a:p>
            <a:r>
              <a:rPr lang="nb-NO" b="1" dirty="0"/>
              <a:t>Hvis du ikke får bli i Norge </a:t>
            </a:r>
          </a:p>
          <a:p>
            <a:r>
              <a:rPr lang="nb-NO" dirty="0"/>
              <a:t>Hvis du ikke får bli i Norge (endelig avslag på søknaden din) får du ikke lenger delta i opplæringen.</a:t>
            </a:r>
          </a:p>
          <a:p>
            <a:endParaRPr lang="nb-NO" dirty="0"/>
          </a:p>
          <a:p>
            <a:r>
              <a:rPr lang="nb-NO" b="1" dirty="0"/>
              <a:t>Til deg som holder presentasjonen</a:t>
            </a:r>
          </a:p>
          <a:p>
            <a:pPr marL="171450" indent="-171450">
              <a:buFont typeface="Arial" panose="020B0604020202020204" pitchFamily="34" charset="0"/>
              <a:buChar char="•"/>
            </a:pPr>
            <a:r>
              <a:rPr lang="nb-NO" dirty="0"/>
              <a:t>Si hvor skolen er og hvordan de får beskjed om når de skal begynne. </a:t>
            </a:r>
          </a:p>
          <a:p>
            <a:pPr marL="171450" indent="-171450">
              <a:buFont typeface="Arial" panose="020B0604020202020204" pitchFamily="34" charset="0"/>
              <a:buChar char="•"/>
            </a:pPr>
            <a:r>
              <a:rPr lang="nb-NO" dirty="0"/>
              <a:t>Se </a:t>
            </a:r>
            <a:r>
              <a:rPr lang="nb-NO" dirty="0" err="1"/>
              <a:t>IMDi</a:t>
            </a:r>
            <a:r>
              <a:rPr lang="nb-NO" dirty="0"/>
              <a:t> for mer informasjon om innhold og målgrupper: https://www.imdi.no/kvalifisering/regelverk/norsk-og-samfunnskunnskap/</a:t>
            </a:r>
          </a:p>
          <a:p>
            <a:pPr marL="171450" indent="-171450">
              <a:buFont typeface="Arial" panose="020B0604020202020204" pitchFamily="34" charset="0"/>
              <a:buChar char="•"/>
            </a:pPr>
            <a:r>
              <a:rPr lang="nb-NO" dirty="0"/>
              <a:t>Se mer informasjon om rett til videregående opplæring for barn over 16 år her: https://www.udir.no/laring-og-trivsel/minoritetsspraklige/regleverk-som-gjelder-spesielt-for-minoritetsspraklige/skole/16-24-ar/</a:t>
            </a:r>
          </a:p>
        </p:txBody>
      </p:sp>
    </p:spTree>
    <p:extLst>
      <p:ext uri="{BB962C8B-B14F-4D97-AF65-F5344CB8AC3E}">
        <p14:creationId xmlns:p14="http://schemas.microsoft.com/office/powerpoint/2010/main" val="17386445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100" b="1" baseline="0" dirty="0"/>
              <a:t>Støttetekst</a:t>
            </a:r>
          </a:p>
          <a:p>
            <a:r>
              <a:rPr lang="nb-NO" sz="1100" baseline="0" dirty="0"/>
              <a:t>Alle som bor i mottak får informasjon om de første ni temaene i informasjonsprogrammet. Etter det får dere informasjon om opphold eller retur, avhengig av om dere får bli i Norge eller må reise hjem. </a:t>
            </a:r>
          </a:p>
          <a:p>
            <a:endParaRPr lang="nb-NO" sz="1100" baseline="0" dirty="0"/>
          </a:p>
          <a:p>
            <a:r>
              <a:rPr lang="nb-NO" sz="1100" baseline="0" dirty="0"/>
              <a:t>Nå begynner vi på tema nummer tre som er om asylprosessen. Det er viktig at du forstår det som skjer. Derfor skal vi gå gjennom hele asylprosessen, fra du søkte til du får svar.  </a:t>
            </a:r>
          </a:p>
          <a:p>
            <a:endParaRPr lang="nb-NO" sz="1100" baseline="0" dirty="0"/>
          </a:p>
          <a:p>
            <a:r>
              <a:rPr lang="nb-NO" sz="1100" b="1" baseline="0" dirty="0"/>
              <a:t>Vi skal snakke om </a:t>
            </a:r>
          </a:p>
          <a:p>
            <a:pPr marL="171450" indent="-171450">
              <a:buFont typeface="Arial" panose="020B0604020202020204" pitchFamily="34" charset="0"/>
              <a:buChar char="•"/>
            </a:pPr>
            <a:r>
              <a:rPr lang="nb-NO" sz="1100" baseline="0" dirty="0"/>
              <a:t>hvem som kan få beskyttelse i Norge</a:t>
            </a:r>
          </a:p>
          <a:p>
            <a:pPr marL="171450" indent="-171450">
              <a:buFont typeface="Arial" panose="020B0604020202020204" pitchFamily="34" charset="0"/>
              <a:buChar char="•"/>
            </a:pPr>
            <a:r>
              <a:rPr lang="nb-NO" sz="1100" baseline="0" dirty="0"/>
              <a:t>hvem du møter når du søker om beskyttelse </a:t>
            </a:r>
          </a:p>
          <a:p>
            <a:pPr marL="171450" indent="-171450">
              <a:buFont typeface="Arial" panose="020B0604020202020204" pitchFamily="34" charset="0"/>
              <a:buChar char="•"/>
            </a:pPr>
            <a:r>
              <a:rPr lang="nb-NO" sz="1100" baseline="0" dirty="0"/>
              <a:t>hva du kan gjøre mens du venter på svar </a:t>
            </a:r>
          </a:p>
          <a:p>
            <a:pPr marL="171450" indent="-171450">
              <a:buFont typeface="Arial" panose="020B0604020202020204" pitchFamily="34" charset="0"/>
              <a:buChar char="•"/>
            </a:pPr>
            <a:r>
              <a:rPr lang="nb-NO" sz="1100" baseline="0" dirty="0"/>
              <a:t>hva som skjer hvis du får bli i Norge</a:t>
            </a:r>
          </a:p>
          <a:p>
            <a:pPr marL="171450" indent="-171450">
              <a:buFont typeface="Arial" panose="020B0604020202020204" pitchFamily="34" charset="0"/>
              <a:buChar char="•"/>
            </a:pPr>
            <a:r>
              <a:rPr lang="nb-NO" sz="1100" baseline="0" dirty="0"/>
              <a:t>hva som skjer hvis du må reise hjem</a:t>
            </a:r>
          </a:p>
          <a:p>
            <a:endParaRPr lang="nb-NO" sz="1100" baseline="0" dirty="0"/>
          </a:p>
          <a:p>
            <a:r>
              <a:rPr lang="nb-NO" sz="1100" baseline="0" dirty="0"/>
              <a:t>Hvis det er noe du ikke forstår eller om du lurer på noe underveis, kan du spørre. </a:t>
            </a:r>
          </a:p>
          <a:p>
            <a:endParaRPr lang="nb-NO" sz="1100" baseline="0" dirty="0"/>
          </a:p>
          <a:p>
            <a:r>
              <a:rPr lang="nb-NO" sz="1100" b="1" baseline="0" dirty="0"/>
              <a:t>Til deg som holder presentasjonen </a:t>
            </a:r>
          </a:p>
          <a:p>
            <a:r>
              <a:rPr lang="nb-NO" sz="1100" baseline="0" dirty="0"/>
              <a:t>Temaene i informasjonsprogrammet er velkomstinformasjon, livet på mottaket, asylprosessen, identitet, moral og seksuell trakassering, familiemønstre og samlivsformer, foreldre og barn, helse, samfunnsforhold, normer og verdier, kriminalitet og konflikthåndtering, avslag og oppholdstillatelse.</a:t>
            </a:r>
          </a:p>
        </p:txBody>
      </p:sp>
    </p:spTree>
    <p:extLst>
      <p:ext uri="{BB962C8B-B14F-4D97-AF65-F5344CB8AC3E}">
        <p14:creationId xmlns:p14="http://schemas.microsoft.com/office/powerpoint/2010/main" val="22918055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92500" lnSpcReduction="20000"/>
          </a:bodyPr>
          <a:lstStyle/>
          <a:p>
            <a:r>
              <a:rPr lang="nb-NO" b="1" dirty="0"/>
              <a:t>Støttetekst </a:t>
            </a:r>
          </a:p>
          <a:p>
            <a:r>
              <a:rPr lang="nb-NO" dirty="0"/>
              <a:t>Hvis du får oppholdstillatelse, og er i målgruppa for introduksjonsprogram, skal du registrere kompetansen din. Det er kommunen, som mottaket er i, som har ansvar for gjennomføring av kompetansekartleggingen. Registreringen kan hjelpe deg med å komme raskere i arbeid, eller utdanning.</a:t>
            </a:r>
          </a:p>
          <a:p>
            <a:endParaRPr lang="nb-NO" dirty="0"/>
          </a:p>
          <a:p>
            <a:r>
              <a:rPr lang="nb-NO" b="1" dirty="0"/>
              <a:t>Du er i målgruppen for kompetansekartlegging hvis</a:t>
            </a:r>
          </a:p>
          <a:p>
            <a:pPr marL="171450" indent="-171450">
              <a:buFont typeface="Arial" panose="020B0604020202020204" pitchFamily="34" charset="0"/>
              <a:buChar char="•"/>
            </a:pPr>
            <a:r>
              <a:rPr lang="nb-NO" dirty="0"/>
              <a:t>du har fått en tillatelse som gir rett til bosetting</a:t>
            </a:r>
          </a:p>
          <a:p>
            <a:pPr marL="171450" indent="-171450">
              <a:buFont typeface="Arial" panose="020B0604020202020204" pitchFamily="34" charset="0"/>
              <a:buChar char="•"/>
            </a:pPr>
            <a:r>
              <a:rPr lang="nb-NO" dirty="0"/>
              <a:t>du bor på integreringsmottak og deltar i fulltidsprogrammet</a:t>
            </a:r>
          </a:p>
          <a:p>
            <a:endParaRPr lang="nb-NO" dirty="0"/>
          </a:p>
          <a:p>
            <a:r>
              <a:rPr lang="nb-NO" b="1" dirty="0"/>
              <a:t>Kompetanse du kan registrere</a:t>
            </a:r>
          </a:p>
          <a:p>
            <a:pPr marL="171450" indent="-171450">
              <a:buFont typeface="Arial" panose="020B0604020202020204" pitchFamily="34" charset="0"/>
              <a:buChar char="•"/>
            </a:pPr>
            <a:r>
              <a:rPr lang="nb-NO" dirty="0"/>
              <a:t>Hvilke språk du snakker</a:t>
            </a:r>
          </a:p>
          <a:p>
            <a:pPr marL="171450" indent="-171450">
              <a:buFont typeface="Arial" panose="020B0604020202020204" pitchFamily="34" charset="0"/>
              <a:buChar char="•"/>
            </a:pPr>
            <a:r>
              <a:rPr lang="nb-NO" dirty="0"/>
              <a:t>Hvor lenge du har gått på skole</a:t>
            </a:r>
          </a:p>
          <a:p>
            <a:pPr marL="171450" indent="-171450">
              <a:buFont typeface="Arial" panose="020B0604020202020204" pitchFamily="34" charset="0"/>
              <a:buChar char="•"/>
            </a:pPr>
            <a:r>
              <a:rPr lang="nb-NO" dirty="0"/>
              <a:t>Arbeidserfaring</a:t>
            </a:r>
          </a:p>
          <a:p>
            <a:pPr marL="171450" indent="-171450">
              <a:buFont typeface="Arial" panose="020B0604020202020204" pitchFamily="34" charset="0"/>
              <a:buChar char="•"/>
            </a:pPr>
            <a:r>
              <a:rPr lang="nb-NO" dirty="0"/>
              <a:t>Aktiviteter</a:t>
            </a:r>
          </a:p>
          <a:p>
            <a:pPr marL="171450" indent="-171450">
              <a:buFont typeface="Arial" panose="020B0604020202020204" pitchFamily="34" charset="0"/>
              <a:buChar char="•"/>
            </a:pPr>
            <a:r>
              <a:rPr lang="nb-NO" dirty="0"/>
              <a:t>Interessene dine</a:t>
            </a:r>
          </a:p>
          <a:p>
            <a:pPr marL="171450" indent="-171450">
              <a:buFont typeface="Arial" panose="020B0604020202020204" pitchFamily="34" charset="0"/>
              <a:buChar char="•"/>
            </a:pPr>
            <a:r>
              <a:rPr lang="nb-NO" dirty="0"/>
              <a:t>Ønsker du har for utdanning og arbeid</a:t>
            </a:r>
          </a:p>
          <a:p>
            <a:endParaRPr lang="nb-NO" dirty="0"/>
          </a:p>
          <a:p>
            <a:r>
              <a:rPr lang="nb-NO" b="1" dirty="0"/>
              <a:t>Til deg som holder presentasjonen</a:t>
            </a:r>
          </a:p>
          <a:p>
            <a:r>
              <a:rPr lang="nb-NO" dirty="0"/>
              <a:t>IMDi har utarbeidet skriftlig informasjon og film om hvorfor beboere skal registrerer kompetansen, og hvordan det skal gjøres. </a:t>
            </a:r>
          </a:p>
          <a:p>
            <a:r>
              <a:rPr lang="nb-NO" dirty="0"/>
              <a:t>Du finner skriftlig informasjon på flere språk her: https://www.imdi.no/planlegging-og-bosetting/tilgang-og-palogging-for-kompetansekartlegging-og-karriereveiledning/informasjon-om-registrering-av-kompetanse-til-flyktningen-pa-ulike-sprak/</a:t>
            </a:r>
          </a:p>
          <a:p>
            <a:r>
              <a:rPr lang="nb-NO" dirty="0"/>
              <a:t>Filmene finnes på tre språk, se link under forslag til metode.</a:t>
            </a:r>
          </a:p>
          <a:p>
            <a:endParaRPr lang="nb-NO" dirty="0"/>
          </a:p>
          <a:p>
            <a:r>
              <a:rPr lang="nb-NO" b="1" dirty="0"/>
              <a:t>Forslag til metode</a:t>
            </a:r>
          </a:p>
          <a:p>
            <a:r>
              <a:rPr lang="nb-NO" dirty="0"/>
              <a:t>Del ut brosjyrer på riktig språk.</a:t>
            </a:r>
          </a:p>
          <a:p>
            <a:r>
              <a:rPr lang="nb-NO" dirty="0"/>
              <a:t>Vis film fra IMDi om hvorfor det er viktig å registrere kompetanse. </a:t>
            </a:r>
          </a:p>
          <a:p>
            <a:pPr marL="171450" indent="-171450">
              <a:buFont typeface="Arial" panose="020B0604020202020204" pitchFamily="34" charset="0"/>
              <a:buChar char="•"/>
            </a:pPr>
            <a:r>
              <a:rPr lang="nb-NO" dirty="0"/>
              <a:t>Tigrinja: https://www.youtube.com/watch?v=1_9x9IlyzPM&amp;feature=youtu.be</a:t>
            </a:r>
          </a:p>
          <a:p>
            <a:pPr marL="171450" indent="-171450">
              <a:buFont typeface="Arial" panose="020B0604020202020204" pitchFamily="34" charset="0"/>
              <a:buChar char="•"/>
            </a:pPr>
            <a:r>
              <a:rPr lang="nb-NO" dirty="0"/>
              <a:t>Engelsk: https://www.youtube.com/watch?v=fq_XzXYrc70&amp;feature=youtu.be</a:t>
            </a:r>
          </a:p>
          <a:p>
            <a:pPr marL="171450" indent="-171450">
              <a:buFont typeface="Arial" panose="020B0604020202020204" pitchFamily="34" charset="0"/>
              <a:buChar char="•"/>
            </a:pPr>
            <a:r>
              <a:rPr lang="nb-NO" dirty="0"/>
              <a:t>Arabisk: https://www.youtube.com/watch?v=l2cqHFwXhrs&amp;feature=youtu.be </a:t>
            </a:r>
          </a:p>
          <a:p>
            <a:endParaRPr lang="nb-NO" dirty="0"/>
          </a:p>
        </p:txBody>
      </p:sp>
    </p:spTree>
    <p:extLst>
      <p:ext uri="{BB962C8B-B14F-4D97-AF65-F5344CB8AC3E}">
        <p14:creationId xmlns:p14="http://schemas.microsoft.com/office/powerpoint/2010/main" val="38637182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a:t>
            </a:r>
          </a:p>
          <a:p>
            <a:r>
              <a:rPr lang="nb-NO" dirty="0"/>
              <a:t>Hvis du får barn mens du venter på svar på søknaden din, må du søke om beskyttelse for barnet. Selv om barnet er født i Norge får det ikke automatisk oppholdstillatelse eller norsk statsborgerskap. </a:t>
            </a:r>
          </a:p>
          <a:p>
            <a:endParaRPr lang="nb-NO" dirty="0"/>
          </a:p>
          <a:p>
            <a:r>
              <a:rPr lang="nb-NO" b="1" dirty="0"/>
              <a:t>Hvordan søker du </a:t>
            </a:r>
          </a:p>
          <a:p>
            <a:r>
              <a:rPr lang="nb-NO" dirty="0"/>
              <a:t>Du søker om beskyttelse for barnet ved å gi oss på mottaket bekreftelsen på at du har født et barn, som du fikk på sykehuset. Vi på mottaket sender bekreftelsen til UDI som registrerer søknaden for barnet ditt.</a:t>
            </a:r>
          </a:p>
          <a:p>
            <a:endParaRPr lang="nb-NO" dirty="0"/>
          </a:p>
          <a:p>
            <a:r>
              <a:rPr lang="nb-NO" b="1" dirty="0"/>
              <a:t>Til deg som holder presentasjonen </a:t>
            </a:r>
          </a:p>
          <a:p>
            <a:r>
              <a:rPr lang="nb-NO" dirty="0"/>
              <a:t>Du finner mer informasjon på: https://www.udi.no/ord-og-begreper/oppholdstillatelser-for-barn-som-er-fodt-i-norge/</a:t>
            </a:r>
          </a:p>
          <a:p>
            <a:endParaRPr lang="nb-NO" dirty="0"/>
          </a:p>
          <a:p>
            <a:r>
              <a:rPr lang="nb-NO" b="1" dirty="0"/>
              <a:t>Forslag til metode</a:t>
            </a:r>
          </a:p>
          <a:p>
            <a:r>
              <a:rPr lang="nb-NO" dirty="0"/>
              <a:t>Del ut brosjyren til beboere som kan være i målgruppen «Er du gravid og søker asyl» (arabisk, oromo, engelsk, somali og tigrinja). Du finner den her: https://www.udi.no/asylmottak/jobber-i-mottak/informasjonsarbeid-i-mottaket/informasjonsbrosjyrer-for-barn-barnefamilier-og-gravide/#link-16530</a:t>
            </a:r>
          </a:p>
          <a:p>
            <a:endParaRPr lang="nb-NO" dirty="0"/>
          </a:p>
          <a:p>
            <a:endParaRPr lang="nb-NO" dirty="0"/>
          </a:p>
        </p:txBody>
      </p:sp>
    </p:spTree>
    <p:extLst>
      <p:ext uri="{BB962C8B-B14F-4D97-AF65-F5344CB8AC3E}">
        <p14:creationId xmlns:p14="http://schemas.microsoft.com/office/powerpoint/2010/main" val="25115635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a:t>
            </a:r>
          </a:p>
          <a:p>
            <a:r>
              <a:rPr lang="nb-NO" dirty="0"/>
              <a:t>Hvis du flytter ut av mottaket før du har fått svar på søknaden din må du gi beskjed om ny adresse til oss på mottaket, UDI og politiet. Det er viktig at vi vet hvor du bor, slik at du kan få informasjon om søknaden din. Flytter du uten å gi ny adresse er det ikke sikkert at UDI behandler søknaden din.</a:t>
            </a:r>
          </a:p>
          <a:p>
            <a:endParaRPr lang="nb-NO" dirty="0"/>
          </a:p>
          <a:p>
            <a:r>
              <a:rPr lang="nb-NO" dirty="0"/>
              <a:t>Hvis du velger å bo utenfor mottaket, får du ikke penger av mottaket eller av andre norske myndigheter. Du får heller ikke dekket husleie og strøm.</a:t>
            </a:r>
          </a:p>
          <a:p>
            <a:endParaRPr lang="nb-NO" dirty="0"/>
          </a:p>
          <a:p>
            <a:r>
              <a:rPr lang="nb-NO" b="1" dirty="0"/>
              <a:t>Til deg som holder prestasjonen </a:t>
            </a:r>
          </a:p>
          <a:p>
            <a:r>
              <a:rPr lang="nb-NO" dirty="0"/>
              <a:t>Hvis tidligere beboere vil tilbake til mottak må de betale for reisen selv. De må ta kontakt med </a:t>
            </a:r>
            <a:r>
              <a:rPr lang="nb-NO" dirty="0" err="1"/>
              <a:t>regionkontoret</a:t>
            </a:r>
            <a:r>
              <a:rPr lang="nb-NO" dirty="0"/>
              <a:t> (der de sist hadde plass) for å få tilbud om ny plass. Regionkontoret skal tilby plass i samme mottak. Hvis det ikke er mulig, tildeles plass på et annet mottak i regionen. </a:t>
            </a:r>
          </a:p>
        </p:txBody>
      </p:sp>
    </p:spTree>
    <p:extLst>
      <p:ext uri="{BB962C8B-B14F-4D97-AF65-F5344CB8AC3E}">
        <p14:creationId xmlns:p14="http://schemas.microsoft.com/office/powerpoint/2010/main" val="40359681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a:t>
            </a:r>
          </a:p>
          <a:p>
            <a:r>
              <a:rPr lang="nb-NO" dirty="0"/>
              <a:t>Det er UDI som behandler søknaden din. UDI behandler søknaden din på bakgrunn av opplysningene du har gitt til politiet, UDI og dokumentene du har levert inn. UDI vurderer om det er nok informasjon i søknaden til å behandle den (fatte vedtak), eller om det er noe som mangler. Hvis det mangler informasjon må UDI innhente det. Det kan være fra politiet i Norge eller fra den norske ambassaden i hjemlandet ditt. </a:t>
            </a:r>
          </a:p>
          <a:p>
            <a:endParaRPr lang="nb-NO" dirty="0"/>
          </a:p>
          <a:p>
            <a:r>
              <a:rPr lang="nb-NO" dirty="0"/>
              <a:t>UDI kan undersøke om opplysningene du har gitt er riktige. Politiet kan undersøke om dokumentene du har levert inn er ekte. </a:t>
            </a:r>
          </a:p>
          <a:p>
            <a:endParaRPr lang="nb-NO" dirty="0"/>
          </a:p>
          <a:p>
            <a:r>
              <a:rPr lang="nb-NO" dirty="0"/>
              <a:t>Hvis UDI trenger å vite mer om landet du kommer fra, får de informasjon fra blant annet Landinfo. Landinfo er en fagenhet for landinformasjon (for Utlendingsforvaltningen). De er faglig uavhengige, det betyr at myndighetene ikke kan bestemme hvilke vurderinger de skal gjøre.</a:t>
            </a:r>
          </a:p>
          <a:p>
            <a:endParaRPr lang="nb-NO" dirty="0"/>
          </a:p>
          <a:p>
            <a:r>
              <a:rPr lang="nb-NO" b="1" dirty="0"/>
              <a:t>Til deg som holder presentasjonen</a:t>
            </a:r>
          </a:p>
          <a:p>
            <a:r>
              <a:rPr lang="nb-NO" dirty="0"/>
              <a:t>De fleste ansatte i UDI som behandler asylsøknader, har høyere utdanning innenfor jus eller samfunnsfag. De får opplæring i regelverket som gjelder beskyttelse. De får opplæring i hvordan de skal gjennomføre et intervju, om land asylsøkere kommer fra og hvordan situasjonen er for ulike grupper i landet. </a:t>
            </a:r>
          </a:p>
          <a:p>
            <a:endParaRPr lang="nb-NO" dirty="0"/>
          </a:p>
          <a:p>
            <a:r>
              <a:rPr lang="nb-NO" dirty="0"/>
              <a:t>Informasjonen på Landinfo er på norsk og engelsk, se www.landinfo.no</a:t>
            </a:r>
          </a:p>
        </p:txBody>
      </p:sp>
    </p:spTree>
    <p:extLst>
      <p:ext uri="{BB962C8B-B14F-4D97-AF65-F5344CB8AC3E}">
        <p14:creationId xmlns:p14="http://schemas.microsoft.com/office/powerpoint/2010/main" val="21655488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a:t>
            </a:r>
          </a:p>
          <a:p>
            <a:r>
              <a:rPr lang="nb-NO" dirty="0"/>
              <a:t>Hvor lang tid UDI bruker på å behandle søknader varierer. Det kan ta fra noen uker til flere måneder, noen ganger år. </a:t>
            </a:r>
          </a:p>
          <a:p>
            <a:endParaRPr lang="nb-NO" dirty="0"/>
          </a:p>
          <a:p>
            <a:r>
              <a:rPr lang="nb-NO" dirty="0"/>
              <a:t>Ventetiden avhenger av</a:t>
            </a:r>
          </a:p>
          <a:p>
            <a:pPr marL="171450" indent="-171450">
              <a:buFont typeface="Arial" panose="020B0604020202020204" pitchFamily="34" charset="0"/>
              <a:buChar char="•"/>
            </a:pPr>
            <a:r>
              <a:rPr lang="nb-NO" dirty="0"/>
              <a:t>hvilket land du kommer fra. Hvis det er mange andre søknader fra dette landet, vil det ta lenger tid.</a:t>
            </a:r>
          </a:p>
          <a:p>
            <a:pPr marL="171450" indent="-171450">
              <a:buFont typeface="Arial" panose="020B0604020202020204" pitchFamily="34" charset="0"/>
              <a:buChar char="•"/>
            </a:pPr>
            <a:r>
              <a:rPr lang="nb-NO" dirty="0"/>
              <a:t>antall søknader totalt</a:t>
            </a:r>
          </a:p>
          <a:p>
            <a:pPr marL="171450" indent="-171450">
              <a:buFont typeface="Arial" panose="020B0604020202020204" pitchFamily="34" charset="0"/>
              <a:buChar char="•"/>
            </a:pPr>
            <a:r>
              <a:rPr lang="nb-NO" dirty="0"/>
              <a:t>om UDI må innhente mer informasjon om deg </a:t>
            </a:r>
          </a:p>
          <a:p>
            <a:endParaRPr lang="nb-NO" dirty="0"/>
          </a:p>
          <a:p>
            <a:r>
              <a:rPr lang="nb-NO" dirty="0"/>
              <a:t>Det kan hende du må vente lenger enn andre fra samme land som deg, eller andre som bor på samme asylmottak. Hvis du må vente lenge, betyr det ikke at det er noe galt med søknaden din, eller at den er glemt. </a:t>
            </a:r>
          </a:p>
          <a:p>
            <a:endParaRPr lang="nb-NO" dirty="0"/>
          </a:p>
          <a:p>
            <a:r>
              <a:rPr lang="nb-NO" dirty="0"/>
              <a:t>Du finner informasjon om hvor lenge du må vente på: www.udi.no</a:t>
            </a:r>
          </a:p>
          <a:p>
            <a:endParaRPr lang="nb-NO" dirty="0"/>
          </a:p>
          <a:p>
            <a:r>
              <a:rPr lang="nb-NO" b="1" dirty="0"/>
              <a:t>Til deg som holder presentasjonen</a:t>
            </a:r>
          </a:p>
          <a:p>
            <a:r>
              <a:rPr lang="nb-NO" dirty="0"/>
              <a:t>Se informasjon om ventetider her: https://www.udi.no/ord-og-begreper/ventetider-for-de-som-har-sokt-om-beskyttelse-asyl/</a:t>
            </a:r>
          </a:p>
          <a:p>
            <a:endParaRPr lang="nb-NO" dirty="0"/>
          </a:p>
          <a:p>
            <a:r>
              <a:rPr lang="nb-NO" b="1" dirty="0"/>
              <a:t>Forslag til metode</a:t>
            </a:r>
          </a:p>
          <a:p>
            <a:r>
              <a:rPr lang="nb-NO" dirty="0"/>
              <a:t>Vis filmen «Hvorfor må du vente lengre enn andre?» Filmen er på flere språk, og du finner den her: https://www.youtube.com/watch?v=6L-85B_I2MA </a:t>
            </a:r>
          </a:p>
        </p:txBody>
      </p:sp>
    </p:spTree>
    <p:extLst>
      <p:ext uri="{BB962C8B-B14F-4D97-AF65-F5344CB8AC3E}">
        <p14:creationId xmlns:p14="http://schemas.microsoft.com/office/powerpoint/2010/main" val="33666520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Oppgave</a:t>
            </a:r>
          </a:p>
          <a:p>
            <a:r>
              <a:rPr lang="nb-NO" dirty="0"/>
              <a:t>Finn ventetider for landet du kommer fra. Finner du informasjon på et språk du forstår? </a:t>
            </a:r>
          </a:p>
          <a:p>
            <a:endParaRPr lang="nb-NO" dirty="0"/>
          </a:p>
          <a:p>
            <a:r>
              <a:rPr lang="nb-NO" b="1" dirty="0"/>
              <a:t>Forslag til metode </a:t>
            </a:r>
          </a:p>
          <a:p>
            <a:pPr marL="171450" indent="-171450">
              <a:buFont typeface="Arial" panose="020B0604020202020204" pitchFamily="34" charset="0"/>
              <a:buChar char="•"/>
            </a:pPr>
            <a:r>
              <a:rPr lang="nb-NO" dirty="0"/>
              <a:t>Heng opp informasjon om ventetider på mottaket</a:t>
            </a:r>
          </a:p>
          <a:p>
            <a:pPr marL="171450" indent="-171450">
              <a:buFont typeface="Arial" panose="020B0604020202020204" pitchFamily="34" charset="0"/>
              <a:buChar char="•"/>
            </a:pPr>
            <a:r>
              <a:rPr lang="nb-NO" dirty="0"/>
              <a:t>Hvis alle har med egen telefon kan de bruke den. Hvis ikke må mottaket ha pc/</a:t>
            </a:r>
            <a:r>
              <a:rPr lang="nb-NO" dirty="0" err="1"/>
              <a:t>ipad</a:t>
            </a:r>
            <a:r>
              <a:rPr lang="nb-NO" dirty="0"/>
              <a:t> de kan bruke. </a:t>
            </a:r>
          </a:p>
          <a:p>
            <a:pPr marL="171450" indent="-171450">
              <a:buFont typeface="Arial" panose="020B0604020202020204" pitchFamily="34" charset="0"/>
              <a:buChar char="•"/>
            </a:pPr>
            <a:r>
              <a:rPr lang="nb-NO" dirty="0"/>
              <a:t>Snakk om oppgaven. Hva fant de ut, hva var vanskelig. Be om tilbakemeldinger.</a:t>
            </a:r>
          </a:p>
          <a:p>
            <a:pPr marL="171450" indent="-171450">
              <a:buFont typeface="Arial" panose="020B0604020202020204" pitchFamily="34" charset="0"/>
              <a:buChar char="•"/>
            </a:pPr>
            <a:r>
              <a:rPr lang="nb-NO" dirty="0"/>
              <a:t>Snakk om hvordan beboerne kan bruke ventetiden best mulig. Kan de opplyse saken sin bedre? Hvordan kan de forberede seg best mulig på å bli eller å reise hjem?</a:t>
            </a:r>
          </a:p>
          <a:p>
            <a:endParaRPr lang="nb-NO" dirty="0"/>
          </a:p>
          <a:p>
            <a:r>
              <a:rPr lang="nb-NO" dirty="0"/>
              <a:t>Fortell beboerne hvor på mottaket det henger informasjon om ventetider, og at de kan snakke med dere som jobber på mottaket, hvis det er noe de ikke forstår. </a:t>
            </a:r>
          </a:p>
        </p:txBody>
      </p:sp>
    </p:spTree>
    <p:extLst>
      <p:ext uri="{BB962C8B-B14F-4D97-AF65-F5344CB8AC3E}">
        <p14:creationId xmlns:p14="http://schemas.microsoft.com/office/powerpoint/2010/main" val="25178501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a:t>
            </a:r>
          </a:p>
          <a:p>
            <a:r>
              <a:rPr lang="nb-NO" dirty="0"/>
              <a:t>Hvis du har spørsmål om søknaden din kan du ringe UDIs veiledningstjeneste (23 35 16 00). Du må ha DUF-nummeret klart. Det kan ofte være lang ventetid.</a:t>
            </a:r>
          </a:p>
          <a:p>
            <a:endParaRPr lang="nb-NO" dirty="0"/>
          </a:p>
          <a:p>
            <a:r>
              <a:rPr lang="nb-NO" dirty="0"/>
              <a:t>Hvis noen ringer for deg, må de ha fullmakt for å få informasjon om søknaden din. </a:t>
            </a:r>
          </a:p>
          <a:p>
            <a:endParaRPr lang="nb-NO" dirty="0"/>
          </a:p>
          <a:p>
            <a:r>
              <a:rPr lang="nb-NO" b="1" dirty="0"/>
              <a:t>Til deg som holder presentasjonen</a:t>
            </a:r>
          </a:p>
          <a:p>
            <a:r>
              <a:rPr lang="nb-NO" dirty="0"/>
              <a:t>Hvis beboere har spørsmål om mottaksoppholdet som dere på mottaket ikke kan svare på, gi dem  kontaktinformasjon til </a:t>
            </a:r>
            <a:r>
              <a:rPr lang="nb-NO" dirty="0" err="1"/>
              <a:t>regionkontoret</a:t>
            </a:r>
            <a:r>
              <a:rPr lang="nb-NO" dirty="0"/>
              <a:t>. </a:t>
            </a:r>
          </a:p>
          <a:p>
            <a:endParaRPr lang="nb-NO" dirty="0"/>
          </a:p>
          <a:p>
            <a:r>
              <a:rPr lang="nb-NO" dirty="0"/>
              <a:t>Se mer informasjon om fullmakt på https://www.udi.no/ord-og-begreper/fullmakt/</a:t>
            </a:r>
          </a:p>
        </p:txBody>
      </p:sp>
    </p:spTree>
    <p:extLst>
      <p:ext uri="{BB962C8B-B14F-4D97-AF65-F5344CB8AC3E}">
        <p14:creationId xmlns:p14="http://schemas.microsoft.com/office/powerpoint/2010/main" val="31055236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 </a:t>
            </a:r>
          </a:p>
          <a:p>
            <a:r>
              <a:rPr lang="nb-NO" dirty="0"/>
              <a:t>Du kan trekke søknaden din om beskyttelse. For å trekke søknaden må du kontakte politiet der du bor (eller Politiets Utlendingsenhet).</a:t>
            </a:r>
          </a:p>
          <a:p>
            <a:endParaRPr lang="nb-NO" dirty="0"/>
          </a:p>
          <a:p>
            <a:r>
              <a:rPr lang="nb-NO" b="1" dirty="0"/>
              <a:t>Plikt til å forlate Norge </a:t>
            </a:r>
          </a:p>
          <a:p>
            <a:r>
              <a:rPr lang="nb-NO" dirty="0"/>
              <a:t>Hvis du trekker søknaden vil du som hovedregel ikke lenger ha lovlig opphold i Norge, og du har plikt til å reise ut av landet. Du kan få hjelp til å reise hjem hvis du søker om assistert retur via UDIs søknadsportal. Det er UDI som behandler søknaden. IOM bistår med hjelp og veiledning til reisen hjem.</a:t>
            </a:r>
          </a:p>
          <a:p>
            <a:endParaRPr lang="nb-NO" dirty="0"/>
          </a:p>
          <a:p>
            <a:r>
              <a:rPr lang="nb-NO" b="1" dirty="0"/>
              <a:t>Til deg som holder presentasjon</a:t>
            </a:r>
          </a:p>
          <a:p>
            <a:r>
              <a:rPr lang="nb-NO" dirty="0"/>
              <a:t>Beboere som trekker søknaden må be om å få tilbake id-dokumentene sine fra politiet når de reiser ut av landet.</a:t>
            </a:r>
          </a:p>
        </p:txBody>
      </p:sp>
    </p:spTree>
    <p:extLst>
      <p:ext uri="{BB962C8B-B14F-4D97-AF65-F5344CB8AC3E}">
        <p14:creationId xmlns:p14="http://schemas.microsoft.com/office/powerpoint/2010/main" val="238909830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Til deg som holder presentasjonen</a:t>
            </a:r>
          </a:p>
          <a:p>
            <a:r>
              <a:rPr lang="nb-NO" dirty="0"/>
              <a:t>Repeter kort temaene dere har gått igjennom i dag. Rekker du mer enn foil 22-37 på ett møte, kan du vente med oppsummeringen/evalueringen til du er ferdig med møtet.</a:t>
            </a:r>
          </a:p>
          <a:p>
            <a:r>
              <a:rPr lang="nb-NO" dirty="0"/>
              <a:t> </a:t>
            </a:r>
          </a:p>
          <a:p>
            <a:r>
              <a:rPr lang="nb-NO" dirty="0"/>
              <a:t>Still spørsmål til gruppen, for å sjekke om informasjonen er forstått. Spør om det er noe som fortsatt er uklart, og hvordan møtene kan bli mer nyttige og lærerike. </a:t>
            </a:r>
          </a:p>
          <a:p>
            <a:endParaRPr lang="nb-NO" dirty="0"/>
          </a:p>
          <a:p>
            <a:r>
              <a:rPr lang="nb-NO" b="1" dirty="0"/>
              <a:t>Forslag til spørsmål</a:t>
            </a:r>
          </a:p>
          <a:p>
            <a:pPr marL="171450" indent="-171450">
              <a:buFont typeface="Arial" panose="020B0604020202020204" pitchFamily="34" charset="0"/>
              <a:buChar char="•"/>
            </a:pPr>
            <a:r>
              <a:rPr lang="nb-NO" dirty="0"/>
              <a:t>Hva har du lært?</a:t>
            </a:r>
          </a:p>
          <a:p>
            <a:pPr marL="171450" indent="-171450">
              <a:buFont typeface="Arial" panose="020B0604020202020204" pitchFamily="34" charset="0"/>
              <a:buChar char="•"/>
            </a:pPr>
            <a:r>
              <a:rPr lang="nb-NO" dirty="0"/>
              <a:t>Er det noe du lurer på?</a:t>
            </a:r>
          </a:p>
          <a:p>
            <a:pPr marL="171450" indent="-171450">
              <a:buFont typeface="Arial" panose="020B0604020202020204" pitchFamily="34" charset="0"/>
              <a:buChar char="•"/>
            </a:pPr>
            <a:r>
              <a:rPr lang="nb-NO" dirty="0"/>
              <a:t>Er det noe vi kan forklare bedre?</a:t>
            </a:r>
          </a:p>
          <a:p>
            <a:pPr marL="171450" indent="-171450">
              <a:buFont typeface="Arial" panose="020B0604020202020204" pitchFamily="34" charset="0"/>
              <a:buChar char="•"/>
            </a:pPr>
            <a:r>
              <a:rPr lang="nb-NO" dirty="0"/>
              <a:t>Er det informasjon du savner?</a:t>
            </a:r>
          </a:p>
          <a:p>
            <a:pPr marL="171450" indent="-171450">
              <a:buFont typeface="Arial" panose="020B0604020202020204" pitchFamily="34" charset="0"/>
              <a:buChar char="•"/>
            </a:pPr>
            <a:r>
              <a:rPr lang="nb-NO" dirty="0"/>
              <a:t>Hvordan kan møtene bli mer nyttige og lærerike?</a:t>
            </a:r>
          </a:p>
          <a:p>
            <a:endParaRPr lang="nb-NO" dirty="0"/>
          </a:p>
          <a:p>
            <a:r>
              <a:rPr lang="nb-NO" dirty="0"/>
              <a:t>Til slutt kan du be beboerne om å si en ting de husker fra det dere har snakket om i dag. Styr runden, legg til hvis noe mangler. Hvis noen ikke vil si noe er det lov å si pass. </a:t>
            </a:r>
          </a:p>
          <a:p>
            <a:endParaRPr lang="nb-NO" dirty="0"/>
          </a:p>
          <a:p>
            <a:r>
              <a:rPr lang="nb-NO" dirty="0"/>
              <a:t>Husk å si hva som er tema for neste møte, spør om det er noe spesielt de vil fokusere på/vil ha informasjon om.</a:t>
            </a:r>
          </a:p>
        </p:txBody>
      </p:sp>
    </p:spTree>
    <p:extLst>
      <p:ext uri="{BB962C8B-B14F-4D97-AF65-F5344CB8AC3E}">
        <p14:creationId xmlns:p14="http://schemas.microsoft.com/office/powerpoint/2010/main" val="26481062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a:t>
            </a:r>
          </a:p>
          <a:p>
            <a:r>
              <a:rPr lang="nb-NO" dirty="0"/>
              <a:t>Vi skal snakke om hva som skjer når du får svar på søknaden din. </a:t>
            </a:r>
          </a:p>
          <a:p>
            <a:endParaRPr lang="nb-NO" dirty="0"/>
          </a:p>
          <a:p>
            <a:pPr marL="0" indent="0">
              <a:buFont typeface="Arial" panose="020B0604020202020204" pitchFamily="34" charset="0"/>
              <a:buNone/>
            </a:pPr>
            <a:r>
              <a:rPr lang="nb-NO" dirty="0"/>
              <a:t>Du får ett av disse svarene</a:t>
            </a:r>
          </a:p>
          <a:p>
            <a:pPr marL="228600" lvl="0" indent="-228600">
              <a:buFont typeface="+mj-lt"/>
              <a:buAutoNum type="arabicPeriod"/>
            </a:pPr>
            <a:r>
              <a:rPr lang="nb-NO" dirty="0"/>
              <a:t>Du får bli i Norge (positivt svar)</a:t>
            </a:r>
          </a:p>
          <a:p>
            <a:pPr marL="228600" lvl="0" indent="-228600">
              <a:buFont typeface="+mj-lt"/>
              <a:buAutoNum type="arabicPeriod"/>
            </a:pPr>
            <a:r>
              <a:rPr lang="nb-NO" dirty="0"/>
              <a:t>Du må reise hjem (negativt svar)</a:t>
            </a:r>
          </a:p>
          <a:p>
            <a:endParaRPr lang="nb-NO" dirty="0"/>
          </a:p>
          <a:p>
            <a:r>
              <a:rPr lang="nb-NO" dirty="0"/>
              <a:t>Vi skal snakke om svarene og hvilke rettigheter og plikter du får. </a:t>
            </a:r>
          </a:p>
          <a:p>
            <a:endParaRPr lang="nb-NO" dirty="0"/>
          </a:p>
        </p:txBody>
      </p:sp>
    </p:spTree>
    <p:extLst>
      <p:ext uri="{BB962C8B-B14F-4D97-AF65-F5344CB8AC3E}">
        <p14:creationId xmlns:p14="http://schemas.microsoft.com/office/powerpoint/2010/main" val="39773261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a:t>
            </a:r>
          </a:p>
          <a:p>
            <a:r>
              <a:rPr lang="nb-NO" dirty="0"/>
              <a:t>Først skal vi snakke om </a:t>
            </a:r>
          </a:p>
          <a:p>
            <a:pPr marL="171450" indent="-171450">
              <a:buFont typeface="Arial" panose="020B0604020202020204" pitchFamily="34" charset="0"/>
              <a:buChar char="•"/>
            </a:pPr>
            <a:r>
              <a:rPr lang="nb-NO" dirty="0"/>
              <a:t>hvem som kan få beskyttelse i Norge  </a:t>
            </a:r>
          </a:p>
          <a:p>
            <a:pPr marL="171450" indent="-171450">
              <a:buFont typeface="Arial" panose="020B0604020202020204" pitchFamily="34" charset="0"/>
              <a:buChar char="•"/>
            </a:pPr>
            <a:r>
              <a:rPr lang="nb-NO" dirty="0"/>
              <a:t>hva som skjer hvis du søker sammen med barn under 18 år </a:t>
            </a:r>
          </a:p>
          <a:p>
            <a:pPr marL="171450" indent="-171450">
              <a:buFont typeface="Arial" panose="020B0604020202020204" pitchFamily="34" charset="0"/>
              <a:buChar char="•"/>
            </a:pPr>
            <a:r>
              <a:rPr lang="nb-NO" dirty="0"/>
              <a:t>hvor mange som får beskyttelse </a:t>
            </a:r>
          </a:p>
          <a:p>
            <a:pPr marL="171450" indent="-171450">
              <a:buFont typeface="Arial" panose="020B0604020202020204" pitchFamily="34" charset="0"/>
              <a:buChar char="•"/>
            </a:pPr>
            <a:r>
              <a:rPr lang="nb-NO" dirty="0"/>
              <a:t>hvorfor antallet som får beskyttelse varierer  </a:t>
            </a:r>
          </a:p>
          <a:p>
            <a:endParaRPr lang="nb-NO" dirty="0"/>
          </a:p>
        </p:txBody>
      </p:sp>
    </p:spTree>
    <p:extLst>
      <p:ext uri="{BB962C8B-B14F-4D97-AF65-F5344CB8AC3E}">
        <p14:creationId xmlns:p14="http://schemas.microsoft.com/office/powerpoint/2010/main" val="12447305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 </a:t>
            </a:r>
          </a:p>
          <a:p>
            <a:r>
              <a:rPr lang="nb-NO" dirty="0"/>
              <a:t>UDI informerer om tillatelsen. Hvis du får bli i Norge, kaller UDI deg inn til en samtale. Du får informasjon om hva slags tillatelse du har fått, hvor lenge den varer, om rettighetene og pliktene dine. Det er viktig at du forstår hva slags tillatelse du har fått, og hva det betyr for deg. Hvis det er noe du ikke forstår, spør UDI i samtalen.</a:t>
            </a:r>
          </a:p>
          <a:p>
            <a:endParaRPr lang="nb-NO" dirty="0"/>
          </a:p>
          <a:p>
            <a:r>
              <a:rPr lang="nb-NO" b="1" dirty="0"/>
              <a:t>Brev fra UDI</a:t>
            </a:r>
          </a:p>
          <a:p>
            <a:r>
              <a:rPr lang="nb-NO" dirty="0"/>
              <a:t>Du får et brev fra UDI (vedtak) hvor det står hva slags tillatelse du har fått og hvor lenge den varer. Det står også hvilke rettigheter og plikter du har.  </a:t>
            </a:r>
          </a:p>
          <a:p>
            <a:endParaRPr lang="nb-NO" dirty="0"/>
          </a:p>
          <a:p>
            <a:r>
              <a:rPr lang="nb-NO" b="1" dirty="0"/>
              <a:t>Til deg som holder presentasjonen </a:t>
            </a:r>
          </a:p>
          <a:p>
            <a:r>
              <a:rPr lang="nb-NO" dirty="0"/>
              <a:t>For mer informasjon om saksgangen i asylsaker se retningslinje UDI 2010-158 Saksgang i asylsaker etter vedtak i første instans. Du finner dokumentet på https://www.udiregelverk.no/</a:t>
            </a:r>
          </a:p>
        </p:txBody>
      </p:sp>
    </p:spTree>
    <p:extLst>
      <p:ext uri="{BB962C8B-B14F-4D97-AF65-F5344CB8AC3E}">
        <p14:creationId xmlns:p14="http://schemas.microsoft.com/office/powerpoint/2010/main" val="108500148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92500" lnSpcReduction="20000"/>
          </a:bodyPr>
          <a:lstStyle/>
          <a:p>
            <a:r>
              <a:rPr lang="nb-NO" b="1" dirty="0"/>
              <a:t>Støttetekst </a:t>
            </a:r>
          </a:p>
          <a:p>
            <a:r>
              <a:rPr lang="nb-NO" dirty="0"/>
              <a:t>Det står i brevet fra UDI (vedtaket ditt) om du får beskyttelse, hvilke rettigheter og plikter du får, og hvor lenge tillatelsen varer. De fleste som får beskyttelse får en tillatelse som varer i tre år. Du må søke om å fornye tillatelsen din før den går ut. Du søker om fornying hos politiet der du bor. </a:t>
            </a:r>
          </a:p>
          <a:p>
            <a:endParaRPr lang="nb-NO" dirty="0"/>
          </a:p>
          <a:p>
            <a:r>
              <a:rPr lang="nb-NO" b="1" dirty="0"/>
              <a:t>Hvis du får beskyttelse har du blant annet disse rettighetene:</a:t>
            </a:r>
          </a:p>
          <a:p>
            <a:pPr marL="171450" indent="-171450">
              <a:buFont typeface="Arial" panose="020B0604020202020204" pitchFamily="34" charset="0"/>
              <a:buChar char="•"/>
            </a:pPr>
            <a:r>
              <a:rPr lang="nb-NO" dirty="0"/>
              <a:t>Du kan bli bosatt i en kommune (Hvis du får bli i Norge får du mer informasjon om dette og andre rettigheter og plikter)</a:t>
            </a:r>
          </a:p>
          <a:p>
            <a:pPr marL="171450" indent="-171450">
              <a:buFont typeface="Arial" panose="020B0604020202020204" pitchFamily="34" charset="0"/>
              <a:buChar char="•"/>
            </a:pPr>
            <a:r>
              <a:rPr lang="nb-NO" dirty="0"/>
              <a:t>De nærmeste familiemedlemmene dine kan søke om å få komme til Norge (ektefelle eller samboer og barn under 18 år du hadde før du kom til Norge). </a:t>
            </a:r>
          </a:p>
          <a:p>
            <a:pPr marL="171450" indent="-171450">
              <a:buFont typeface="Arial" panose="020B0604020202020204" pitchFamily="34" charset="0"/>
              <a:buChar char="•"/>
            </a:pPr>
            <a:r>
              <a:rPr lang="nb-NO" dirty="0"/>
              <a:t>Du kan jobbe i Norge. </a:t>
            </a:r>
          </a:p>
          <a:p>
            <a:pPr marL="171450" indent="-171450">
              <a:buFont typeface="Arial" panose="020B0604020202020204" pitchFamily="34" charset="0"/>
              <a:buChar char="•"/>
            </a:pPr>
            <a:r>
              <a:rPr lang="nb-NO" dirty="0"/>
              <a:t>Du kan reise inn og ut av Norge hvis du har et reisedokument, du kan ikke reise til hjemlandet ditt. </a:t>
            </a:r>
          </a:p>
          <a:p>
            <a:endParaRPr lang="nb-NO" dirty="0"/>
          </a:p>
          <a:p>
            <a:r>
              <a:rPr lang="nb-NO" b="1" dirty="0"/>
              <a:t>Hvis du får beskyttelse har du blant annet disse pliktene:</a:t>
            </a:r>
          </a:p>
          <a:p>
            <a:pPr marL="171450" indent="-171450">
              <a:buFont typeface="Arial" panose="020B0604020202020204" pitchFamily="34" charset="0"/>
              <a:buChar char="•"/>
            </a:pPr>
            <a:r>
              <a:rPr lang="nb-NO" dirty="0"/>
              <a:t>Du må søke fornyelse før tillatelsen din går ut</a:t>
            </a:r>
          </a:p>
          <a:p>
            <a:pPr marL="171450" indent="-171450">
              <a:buFont typeface="Arial" panose="020B0604020202020204" pitchFamily="34" charset="0"/>
              <a:buChar char="•"/>
            </a:pPr>
            <a:r>
              <a:rPr lang="nb-NO" dirty="0"/>
              <a:t>Du må forholde deg til lovene og reglene i Norge.</a:t>
            </a:r>
          </a:p>
          <a:p>
            <a:endParaRPr lang="nb-NO" dirty="0"/>
          </a:p>
          <a:p>
            <a:r>
              <a:rPr lang="nb-NO" dirty="0"/>
              <a:t>Hvis du reiser til hjemlandet ditt, kan du miste tillatelsen din (tilbakekall), eller du kan få brev om at UDI vurderer å trekke tilbake tillatelsen din (forhåndsvarsel om tilbakekall). Det betyr at UDI gjør en vurdering av om du fremdeles har behov for beskyttelse.</a:t>
            </a:r>
          </a:p>
          <a:p>
            <a:endParaRPr lang="nb-NO" dirty="0"/>
          </a:p>
          <a:p>
            <a:r>
              <a:rPr lang="nb-NO" dirty="0"/>
              <a:t>Du finner mer informasjon om beskyttelse på https://www.udi.no/har-sokt/beskyttelse-asyl/</a:t>
            </a:r>
          </a:p>
          <a:p>
            <a:endParaRPr lang="nb-NO" dirty="0"/>
          </a:p>
          <a:p>
            <a:r>
              <a:rPr lang="nb-NO" b="1" dirty="0"/>
              <a:t>Forslag til metode</a:t>
            </a:r>
          </a:p>
          <a:p>
            <a:r>
              <a:rPr lang="nb-NO" dirty="0"/>
              <a:t>For mer informasjon om saksgangen i asylsaker se retningslinje UDI 2010-158 Saksgang i asylsaker etter vedtak i første instans. Du finner dokumentet på https://www.udiregelverk.no/</a:t>
            </a:r>
          </a:p>
          <a:p>
            <a:endParaRPr lang="nb-NO" dirty="0"/>
          </a:p>
          <a:p>
            <a:r>
              <a:rPr lang="nb-NO" dirty="0" err="1"/>
              <a:t>Print</a:t>
            </a:r>
            <a:r>
              <a:rPr lang="nb-NO" dirty="0"/>
              <a:t> og del ut vedlegget «Rettigheter og plikter når du har fått beskyttelse (asyl)» på aktuelle språk. Du finner vedlegget på https://www.udiregelverk.no/nn/rettskjelder/udi-retningslinjer/udi-2010-158/udi-2010-158v/</a:t>
            </a:r>
          </a:p>
        </p:txBody>
      </p:sp>
    </p:spTree>
    <p:extLst>
      <p:ext uri="{BB962C8B-B14F-4D97-AF65-F5344CB8AC3E}">
        <p14:creationId xmlns:p14="http://schemas.microsoft.com/office/powerpoint/2010/main" val="303561602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92500" lnSpcReduction="10000"/>
          </a:bodyPr>
          <a:lstStyle/>
          <a:p>
            <a:r>
              <a:rPr lang="nb-NO" b="1" dirty="0"/>
              <a:t>Støttetekst</a:t>
            </a:r>
          </a:p>
          <a:p>
            <a:r>
              <a:rPr lang="nb-NO" dirty="0"/>
              <a:t>Hvis du får beskyttelse kan de nærmeste familiemedlemmene dine søke om å komme til Norge. Nærmeste familie er ektefelle eller samboer og barn under 18 år du hadde før du kom til Norge. I brevet fra UDI (vedtaket) står det om hva som gjelder for deg og familien din.</a:t>
            </a:r>
          </a:p>
          <a:p>
            <a:endParaRPr lang="nb-NO" dirty="0"/>
          </a:p>
          <a:p>
            <a:r>
              <a:rPr lang="nb-NO" dirty="0"/>
              <a:t>Familien din må</a:t>
            </a:r>
          </a:p>
          <a:p>
            <a:pPr marL="171450" indent="-171450">
              <a:buFont typeface="Arial" panose="020B0604020202020204" pitchFamily="34" charset="0"/>
              <a:buChar char="•"/>
            </a:pPr>
            <a:r>
              <a:rPr lang="nb-NO" dirty="0"/>
              <a:t>registrere søknaden på nett (søknadsportalen) innen seks måneder etter datoen (vedtaksdato) som står i brevet ditt fra UDI. Søknaden må registreres i UDIs elektroniske søknadsportal.</a:t>
            </a:r>
          </a:p>
          <a:p>
            <a:pPr marL="171450" indent="-171450">
              <a:buFont typeface="Arial" panose="020B0604020202020204" pitchFamily="34" charset="0"/>
              <a:buChar char="•"/>
            </a:pPr>
            <a:r>
              <a:rPr lang="nb-NO" dirty="0"/>
              <a:t>betale søknadsgebyr innen seks måneder </a:t>
            </a:r>
          </a:p>
          <a:p>
            <a:pPr marL="171450" indent="-171450">
              <a:buFont typeface="Arial" panose="020B0604020202020204" pitchFamily="34" charset="0"/>
              <a:buChar char="•"/>
            </a:pPr>
            <a:r>
              <a:rPr lang="nb-NO" dirty="0"/>
              <a:t>levere søknaden ved en norsk ambassade, utenriksstasjon eller søknadssenter. Alle dokumenter må leveres innen 12 måneder etter datoen som står i brevet ditt fra UDI (vedtaksdato). Søknaden blir ikke behandlet før alle søknadsdokumentene er levert på ambassaden, utenriksstasjonen eller søknadssenteret. </a:t>
            </a:r>
          </a:p>
          <a:p>
            <a:endParaRPr lang="nb-NO" dirty="0"/>
          </a:p>
          <a:p>
            <a:r>
              <a:rPr lang="nb-NO" dirty="0"/>
              <a:t>Hvis familien din ikke søker innen fristen, må du ha god og stabil inntekt for at søknaden kan innvilges. Du kan lese mer om familieinnvandring på UDIs hjemmeside https://www.udi.no/har-sokt/familieinnvandring/ </a:t>
            </a:r>
          </a:p>
          <a:p>
            <a:endParaRPr lang="nb-NO" dirty="0"/>
          </a:p>
          <a:p>
            <a:r>
              <a:rPr lang="nb-NO" b="1" dirty="0"/>
              <a:t>Til deg som holder presentasjonen</a:t>
            </a:r>
          </a:p>
          <a:p>
            <a:r>
              <a:rPr lang="nb-NO" dirty="0"/>
              <a:t>For mer informasjon om inntekt i familieinnvandringssaker se www.udi.no</a:t>
            </a:r>
          </a:p>
          <a:p>
            <a:r>
              <a:rPr lang="nb-NO" dirty="0"/>
              <a:t>For mer informasjon om hva det koster å søke familieinnvandring se www.udi.no</a:t>
            </a:r>
          </a:p>
          <a:p>
            <a:r>
              <a:rPr lang="nb-NO" dirty="0"/>
              <a:t>For mer informasjon om hva som skal leveres i søknaden om familieinnvandring se https://www.youtube.com/watch?v=WpyAdi_QmPM</a:t>
            </a:r>
          </a:p>
          <a:p>
            <a:endParaRPr lang="nb-NO" dirty="0"/>
          </a:p>
          <a:p>
            <a:r>
              <a:rPr lang="nb-NO" dirty="0"/>
              <a:t>Det er viktig å understreke betydningen av å søke innen fristen.</a:t>
            </a:r>
          </a:p>
          <a:p>
            <a:endParaRPr lang="nb-NO" dirty="0"/>
          </a:p>
          <a:p>
            <a:r>
              <a:rPr lang="nb-NO" dirty="0"/>
              <a:t>For spørsmål om familieinnvandring, kontakt Veiledningstjenesten i UDI.</a:t>
            </a:r>
          </a:p>
        </p:txBody>
      </p:sp>
    </p:spTree>
    <p:extLst>
      <p:ext uri="{BB962C8B-B14F-4D97-AF65-F5344CB8AC3E}">
        <p14:creationId xmlns:p14="http://schemas.microsoft.com/office/powerpoint/2010/main" val="89727454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r>
              <a:rPr lang="nb-NO" b="1" dirty="0"/>
              <a:t>Støttetekst</a:t>
            </a:r>
          </a:p>
          <a:p>
            <a:r>
              <a:rPr lang="nb-NO" dirty="0"/>
              <a:t>Hvis du ikke får beskyttelse, kan du få oppholdstillatelse på grunn av sterke menneskelige hensyn. Du kan få innvilget en slik tillatelse hvis du for eksempel har nær tilknytning til Norge, eller svært alvorlige fysiske eller psykiske sykdommer som du ikke kan få behandling for i hjemlandet ditt. Det er få som får en slik tillatelse. Hvis du får en slik tillatelse står det i brevet fra UDI (vedtaket ditt), hvilke rettigheter og plikter du får, og hvor lenge tillatelsen varer. Du må søke om å fornye tillatelsen din før den utgår. Du søker om fornying hos politiet der du bor. </a:t>
            </a:r>
          </a:p>
          <a:p>
            <a:endParaRPr lang="nb-NO" dirty="0"/>
          </a:p>
          <a:p>
            <a:r>
              <a:rPr lang="nb-NO" dirty="0"/>
              <a:t>Hvis du får opphold på grunn av sterke menneskelige hensyn har du mange av de samme rettighetene som de som får beskyttelse. Du har blant annet rett til</a:t>
            </a:r>
          </a:p>
          <a:p>
            <a:pPr marL="171450" indent="-171450">
              <a:buFont typeface="Arial" panose="020B0604020202020204" pitchFamily="34" charset="0"/>
              <a:buChar char="•"/>
            </a:pPr>
            <a:r>
              <a:rPr lang="nb-NO" dirty="0"/>
              <a:t>å jobbe i Norge </a:t>
            </a:r>
          </a:p>
          <a:p>
            <a:pPr marL="171450" indent="-171450">
              <a:buFont typeface="Arial" panose="020B0604020202020204" pitchFamily="34" charset="0"/>
              <a:buChar char="•"/>
            </a:pPr>
            <a:r>
              <a:rPr lang="nb-NO" dirty="0"/>
              <a:t>å reise inn og ut av Norge hvis du har et reisedokument </a:t>
            </a:r>
          </a:p>
          <a:p>
            <a:pPr marL="171450" indent="-171450">
              <a:buFont typeface="Arial" panose="020B0604020202020204" pitchFamily="34" charset="0"/>
              <a:buChar char="•"/>
            </a:pPr>
            <a:r>
              <a:rPr lang="nb-NO" dirty="0"/>
              <a:t>å bli bosatt i en kommune </a:t>
            </a:r>
          </a:p>
          <a:p>
            <a:pPr marL="171450" indent="-171450">
              <a:buFont typeface="Arial" panose="020B0604020202020204" pitchFamily="34" charset="0"/>
              <a:buChar char="•"/>
            </a:pPr>
            <a:r>
              <a:rPr lang="nb-NO" dirty="0"/>
              <a:t>at dine nærmeste familiemedlemmer kan søke om å komme til Norge. Hvis familien din ikke søker innen fristen må du ha god og stabil inntekt for at søknaden kan innvilges. </a:t>
            </a:r>
          </a:p>
          <a:p>
            <a:pPr marL="171450" indent="-171450">
              <a:buFont typeface="Arial" panose="020B0604020202020204" pitchFamily="34" charset="0"/>
              <a:buChar char="•"/>
            </a:pPr>
            <a:endParaRPr lang="nb-NO" dirty="0"/>
          </a:p>
          <a:p>
            <a:pPr marL="0" indent="0">
              <a:buFont typeface="Arial" panose="020B0604020202020204" pitchFamily="34" charset="0"/>
              <a:buNone/>
            </a:pPr>
            <a:r>
              <a:rPr lang="nb-NO" b="1" dirty="0"/>
              <a:t>Til deg som holder presentasjonen</a:t>
            </a:r>
          </a:p>
          <a:p>
            <a:pPr marL="0" indent="0">
              <a:buFont typeface="Arial" panose="020B0604020202020204" pitchFamily="34" charset="0"/>
              <a:buNone/>
            </a:pPr>
            <a:r>
              <a:rPr lang="nb-NO" dirty="0"/>
              <a:t>Her er lenke til filmen  «Jeg har fått oppholdstillatelse på grunn av sterke menneskelige hensyn – barnefamilier: https://www.youtube.com/watch?v=mxQZt_lWnOE </a:t>
            </a:r>
          </a:p>
          <a:p>
            <a:pPr marL="0" indent="0">
              <a:buFont typeface="Arial" panose="020B0604020202020204" pitchFamily="34" charset="0"/>
              <a:buNone/>
            </a:pPr>
            <a:endParaRPr lang="nb-NO" dirty="0"/>
          </a:p>
          <a:p>
            <a:pPr marL="0" indent="0">
              <a:buFont typeface="Arial" panose="020B0604020202020204" pitchFamily="34" charset="0"/>
              <a:buNone/>
            </a:pPr>
            <a:r>
              <a:rPr lang="nb-NO" dirty="0"/>
              <a:t>Du finner mer informasjon på www.udi.no</a:t>
            </a:r>
          </a:p>
        </p:txBody>
      </p:sp>
    </p:spTree>
    <p:extLst>
      <p:ext uri="{BB962C8B-B14F-4D97-AF65-F5344CB8AC3E}">
        <p14:creationId xmlns:p14="http://schemas.microsoft.com/office/powerpoint/2010/main" val="352938645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40000" lnSpcReduction="20000"/>
          </a:bodyPr>
          <a:lstStyle/>
          <a:p>
            <a:r>
              <a:rPr lang="nb-NO" b="1" dirty="0"/>
              <a:t>Støttetekst </a:t>
            </a:r>
          </a:p>
          <a:p>
            <a:r>
              <a:rPr lang="nb-NO" dirty="0"/>
              <a:t>Hvis du får en begrenset tillatelse vil det stå «Begrenset midlertidig oppholdstillatelse» i overskriften i brevet fra UDI (vedtaket). Noen får begrensninger i oppholdstillatelsen sin. Dette kan gjelde både for de som får beskyttelse og de som får oppholdstillatelse på grunn av sterke menneskelige hensyn. </a:t>
            </a:r>
          </a:p>
          <a:p>
            <a:endParaRPr lang="nb-NO" dirty="0"/>
          </a:p>
          <a:p>
            <a:r>
              <a:rPr lang="nb-NO" b="1" dirty="0"/>
              <a:t>Hva betyr det at tillatelsen er begrenset?</a:t>
            </a:r>
          </a:p>
          <a:p>
            <a:r>
              <a:rPr lang="nb-NO" dirty="0"/>
              <a:t>En begrenset tillatelse gir færre rettigheter. I brevet fra UDI (vedtaket) står det om du har fått begrensninger, hvorfor du har fått begrensningene, hvilke begrensninger som gjelder for deg og hva du må gjøre for å få dem bort. </a:t>
            </a:r>
          </a:p>
          <a:p>
            <a:endParaRPr lang="nb-NO" dirty="0"/>
          </a:p>
          <a:p>
            <a:r>
              <a:rPr lang="nb-NO" b="1" dirty="0"/>
              <a:t>Hvorfor får noen en begrenset tillatelse?</a:t>
            </a:r>
          </a:p>
          <a:p>
            <a:r>
              <a:rPr lang="nb-NO" dirty="0"/>
              <a:t>De fleste får en begrenset tillatelse fordi det er tvil om identitet, eller manglende dokumentasjon på identitet. </a:t>
            </a:r>
          </a:p>
          <a:p>
            <a:endParaRPr lang="nb-NO" b="1" dirty="0"/>
          </a:p>
          <a:p>
            <a:r>
              <a:rPr lang="nb-NO" b="1" dirty="0"/>
              <a:t>Disse rettighetene får du</a:t>
            </a:r>
          </a:p>
          <a:p>
            <a:pPr marL="171450" indent="-171450">
              <a:buFont typeface="Arial" panose="020B0604020202020204" pitchFamily="34" charset="0"/>
              <a:buChar char="•"/>
            </a:pPr>
            <a:r>
              <a:rPr lang="nb-NO" dirty="0"/>
              <a:t>Du får rett til å jobbe. </a:t>
            </a:r>
          </a:p>
          <a:p>
            <a:pPr marL="171450" indent="-171450">
              <a:buFont typeface="Arial" panose="020B0604020202020204" pitchFamily="34" charset="0"/>
              <a:buChar char="•"/>
            </a:pPr>
            <a:r>
              <a:rPr lang="nb-NO" dirty="0"/>
              <a:t>Du får rett til å reise inn og ut av landet, hvis du har et gyldig reisedokument. </a:t>
            </a:r>
          </a:p>
          <a:p>
            <a:pPr marL="171450" indent="-171450">
              <a:buFont typeface="Arial" panose="020B0604020202020204" pitchFamily="34" charset="0"/>
              <a:buChar char="•"/>
            </a:pPr>
            <a:r>
              <a:rPr lang="nb-NO" dirty="0"/>
              <a:t>Du kan søke om å få fornyet tillatelsen før den går ut. </a:t>
            </a:r>
          </a:p>
          <a:p>
            <a:endParaRPr lang="nb-NO" dirty="0"/>
          </a:p>
          <a:p>
            <a:r>
              <a:rPr lang="nb-NO" b="1" dirty="0"/>
              <a:t>Disse rettighetene får du ikke</a:t>
            </a:r>
          </a:p>
          <a:p>
            <a:pPr marL="171450" indent="-171450">
              <a:buFont typeface="Arial" panose="020B0604020202020204" pitchFamily="34" charset="0"/>
              <a:buChar char="•"/>
            </a:pPr>
            <a:r>
              <a:rPr lang="nb-NO" dirty="0"/>
              <a:t>Familien din har ikke rett til å komme og bo sammen med deg i Norge (familieinnvandring).</a:t>
            </a:r>
          </a:p>
          <a:p>
            <a:pPr marL="171450" indent="-171450">
              <a:buFont typeface="Arial" panose="020B0604020202020204" pitchFamily="34" charset="0"/>
              <a:buChar char="•"/>
            </a:pPr>
            <a:r>
              <a:rPr lang="nb-NO" dirty="0"/>
              <a:t>Du kan ikke få en permanent oppholdstillatelse i Norge.</a:t>
            </a:r>
          </a:p>
          <a:p>
            <a:pPr marL="171450" indent="-171450">
              <a:buFont typeface="Arial" panose="020B0604020202020204" pitchFamily="34" charset="0"/>
              <a:buChar char="•"/>
            </a:pPr>
            <a:r>
              <a:rPr lang="nb-NO" dirty="0"/>
              <a:t>Du blir ikke bosatt i en kommune, men kan fortsette å bo på mottak. </a:t>
            </a:r>
          </a:p>
          <a:p>
            <a:pPr marL="171450" indent="-171450">
              <a:buFont typeface="Arial" panose="020B0604020202020204" pitchFamily="34" charset="0"/>
              <a:buChar char="•"/>
            </a:pPr>
            <a:r>
              <a:rPr lang="nb-NO" dirty="0"/>
              <a:t>Du har ikke rett til å delta i introduksjonsordningen.</a:t>
            </a:r>
          </a:p>
          <a:p>
            <a:pPr marL="171450" indent="-171450">
              <a:buFont typeface="Arial" panose="020B0604020202020204" pitchFamily="34" charset="0"/>
              <a:buChar char="•"/>
            </a:pPr>
            <a:r>
              <a:rPr lang="nb-NO" dirty="0"/>
              <a:t>Du får bare lov til å være i Norge et år av gangen.</a:t>
            </a:r>
          </a:p>
          <a:p>
            <a:endParaRPr lang="nb-NO" dirty="0"/>
          </a:p>
          <a:p>
            <a:r>
              <a:rPr lang="nb-NO" b="1" dirty="0"/>
              <a:t>Til deg som holder presentasjonen </a:t>
            </a:r>
          </a:p>
          <a:p>
            <a:r>
              <a:rPr lang="nb-NO" dirty="0"/>
              <a:t>Det er ulike typer begrensede tillatelser, begrensning på grunn av manglende id-dokumenter er den vanligste. Det står i brevet fra UDI (vedtaket) hvorfor tillatelsen er begrenset. </a:t>
            </a:r>
          </a:p>
          <a:p>
            <a:endParaRPr lang="nb-NO" dirty="0"/>
          </a:p>
          <a:p>
            <a:r>
              <a:rPr lang="nb-NO" b="1" dirty="0"/>
              <a:t>Tilleggsinformasjon du kan gi hvis du får spørsmål om id-tvil og begrensninger</a:t>
            </a:r>
          </a:p>
          <a:p>
            <a:r>
              <a:rPr lang="nb-NO" dirty="0"/>
              <a:t>Norsk lov krever at du samarbeider med norske myndigheter og skaffer de opplysningene UDI ber om. I brevet fra UDI (vedtaket) står det hva som kreves av deg. Du kan få en tillatelse uten begrensninger når kravene er oppfylt. </a:t>
            </a:r>
          </a:p>
          <a:p>
            <a:endParaRPr lang="nb-NO" dirty="0"/>
          </a:p>
          <a:p>
            <a:r>
              <a:rPr lang="nb-NO" dirty="0"/>
              <a:t>Dette må du gjøre </a:t>
            </a:r>
          </a:p>
          <a:p>
            <a:pPr marL="171450" indent="-171450">
              <a:buFont typeface="Arial" panose="020B0604020202020204" pitchFamily="34" charset="0"/>
              <a:buChar char="•"/>
            </a:pPr>
            <a:r>
              <a:rPr lang="nb-NO" dirty="0"/>
              <a:t>Du må skaffe dokumentasjon på identiteten din. I brevet (vedtaket) fra UDI står det hvilke dokumenter du må skaffe. </a:t>
            </a:r>
          </a:p>
          <a:p>
            <a:pPr marL="171450" indent="-171450">
              <a:buFont typeface="Arial" panose="020B0604020202020204" pitchFamily="34" charset="0"/>
              <a:buChar char="•"/>
            </a:pPr>
            <a:r>
              <a:rPr lang="nb-NO" dirty="0"/>
              <a:t>Hvis det står i brevet ditt at UDI mener det er tvil om identiteten din, må du levere pass fra hjemlandet ditt og forklare hvorfor du mener at dette er din rette identitet.</a:t>
            </a:r>
          </a:p>
          <a:p>
            <a:pPr marL="171450" indent="-171450">
              <a:buFont typeface="Arial" panose="020B0604020202020204" pitchFamily="34" charset="0"/>
              <a:buChar char="•"/>
            </a:pPr>
            <a:r>
              <a:rPr lang="nb-NO" dirty="0"/>
              <a:t>Du må kontakte eller oppsøke ambassaden til hjemlandet ditt for å få pass. Informasjon om hvor du finner ditt lands ambassade, finner du på Regjeringens oversikt over diplomatiske forbindelser til Norge (https://www.regjeringen.no/globalassets/departementene/ud/vedlegg/protokoll/odl_190110.pdf).</a:t>
            </a:r>
          </a:p>
          <a:p>
            <a:pPr marL="171450" indent="-171450">
              <a:buFont typeface="Arial" panose="020B0604020202020204" pitchFamily="34" charset="0"/>
              <a:buChar char="•"/>
            </a:pPr>
            <a:r>
              <a:rPr lang="nb-NO" dirty="0"/>
              <a:t>Du må søke om å fornye tillatelsen din hos politiet der du bor, senest tre måneder før tillatelsen din går ut. I brevet fra UDI (vedtaket) og på oppholdskortet ditt står det når tillatelsen går ut. </a:t>
            </a:r>
          </a:p>
          <a:p>
            <a:pPr marL="171450" indent="-171450">
              <a:buFont typeface="Arial" panose="020B0604020202020204" pitchFamily="34" charset="0"/>
              <a:buChar char="•"/>
            </a:pPr>
            <a:r>
              <a:rPr lang="nb-NO" dirty="0"/>
              <a:t>For å beholde alle rettighetene dine er det viktig at du søker om fornyelse i god tid før oppholdstillatelsen din går ut. Da vil du fortsatt ha de samme rettighetene som tidligere, mens UDI behandler søknaden din. Du har disse rettighetene helt til du har fått svar på søknaden, selv om oppholdstillatelsen din går ut i mellomtiden.</a:t>
            </a:r>
          </a:p>
          <a:p>
            <a:pPr marL="171450" indent="-171450">
              <a:buFont typeface="Arial" panose="020B0604020202020204" pitchFamily="34" charset="0"/>
              <a:buChar char="•"/>
            </a:pPr>
            <a:r>
              <a:rPr lang="nb-NO" dirty="0"/>
              <a:t>Hvis du ikke søker om fornyelse innen fristen, kan du miste rettighetene dine mens du venter på svar på søknaden. Det kan også få konsekvenser for senere tillatelser.</a:t>
            </a:r>
          </a:p>
          <a:p>
            <a:pPr marL="171450" indent="-171450">
              <a:buFont typeface="Arial" panose="020B0604020202020204" pitchFamily="34" charset="0"/>
              <a:buChar char="•"/>
            </a:pPr>
            <a:r>
              <a:rPr lang="nb-NO" dirty="0"/>
              <a:t>Du får ikke nytt oppholdskort før du har fått ny oppholdstillatelse. Hvis du har søkt om fornyelse innen fristen, vil UDI sende deg en bekreftelse på at du har lovlig opphold mens du venter på svar på søknaden. </a:t>
            </a:r>
          </a:p>
          <a:p>
            <a:endParaRPr lang="nb-NO" dirty="0"/>
          </a:p>
          <a:p>
            <a:r>
              <a:rPr lang="nb-NO" b="1" dirty="0"/>
              <a:t>Utlendingspass for å reise til utlandet for å skaffe dokumenter </a:t>
            </a:r>
          </a:p>
          <a:p>
            <a:r>
              <a:rPr lang="nb-NO" dirty="0"/>
              <a:t>Hvis nærmeste ambassade ikke er i Norge, kan du få et utlendingspass som er begrenset til en eller to reiser for å skaffe dokumentasjon på identiteten din. </a:t>
            </a:r>
          </a:p>
          <a:p>
            <a:endParaRPr lang="nb-NO" dirty="0"/>
          </a:p>
          <a:p>
            <a:r>
              <a:rPr lang="nb-NO" b="1" dirty="0"/>
              <a:t>Slik søker du om fornyelse av tillatelse </a:t>
            </a:r>
          </a:p>
          <a:p>
            <a:pPr marL="171450" indent="-171450">
              <a:buFont typeface="Arial" panose="020B0604020202020204" pitchFamily="34" charset="0"/>
              <a:buChar char="•"/>
            </a:pPr>
            <a:r>
              <a:rPr lang="nb-NO" dirty="0"/>
              <a:t>Du må søke om fornyelse av tillatelsen senest en måned før den går ut. Du søker om fornyelse hos politiet der du bor, sammen med eventuell dokumentasjonen du har skaffet. Dokumentene må være gyldige og i original. Politiet godtar ikke kopier. Du bør bestille time hos politiet tre måneder før tillatelsen din går ut. Politiet videresender søknaden til UDI, som behandler den. </a:t>
            </a:r>
          </a:p>
          <a:p>
            <a:pPr marL="171450" indent="-171450">
              <a:buFont typeface="Arial" panose="020B0604020202020204" pitchFamily="34" charset="0"/>
              <a:buChar char="•"/>
            </a:pPr>
            <a:r>
              <a:rPr lang="nb-NO" dirty="0"/>
              <a:t>Hvis du bryter norsk lov, for eksempel leverer falske dokumenter, kan UDI utvise deg fra Norge, og du kan miste tillatelsen din.</a:t>
            </a:r>
          </a:p>
          <a:p>
            <a:endParaRPr lang="nb-NO" dirty="0"/>
          </a:p>
          <a:p>
            <a:r>
              <a:rPr lang="nb-NO" b="1" dirty="0"/>
              <a:t>Fornyet tillatelse med begrensninger for barnefamilier</a:t>
            </a:r>
          </a:p>
          <a:p>
            <a:pPr marL="171450" indent="-171450">
              <a:buFont typeface="Arial" panose="020B0604020202020204" pitchFamily="34" charset="0"/>
              <a:buChar char="•"/>
            </a:pPr>
            <a:r>
              <a:rPr lang="nb-NO" dirty="0"/>
              <a:t>Når du og familien din har fått fornyet tillatelsen en gang, blir dere bosatt i en kommune. </a:t>
            </a:r>
          </a:p>
          <a:p>
            <a:pPr marL="171450" indent="-171450">
              <a:buFont typeface="Arial" panose="020B0604020202020204" pitchFamily="34" charset="0"/>
              <a:buChar char="•"/>
            </a:pPr>
            <a:r>
              <a:rPr lang="nb-NO" dirty="0"/>
              <a:t>Når dere blir bosatt i en kommune, har dere rett til å delta i introduksjonsordningen. </a:t>
            </a:r>
          </a:p>
          <a:p>
            <a:endParaRPr lang="nb-NO" dirty="0"/>
          </a:p>
          <a:p>
            <a:r>
              <a:rPr lang="nb-NO" dirty="0"/>
              <a:t>Hvis du ikke har barn, blir du ikke bosatt i kommune, men du har rett til å bo i mottak frem til du får tillatelse uten begrensninger. </a:t>
            </a:r>
          </a:p>
          <a:p>
            <a:endParaRPr lang="nb-NO" dirty="0"/>
          </a:p>
          <a:p>
            <a:r>
              <a:rPr lang="nb-NO" b="1" dirty="0"/>
              <a:t>Ny tillatelse uten begrensninger </a:t>
            </a:r>
          </a:p>
          <a:p>
            <a:pPr marL="171450" indent="-171450">
              <a:buFont typeface="Arial" panose="020B0604020202020204" pitchFamily="34" charset="0"/>
              <a:buChar char="•"/>
            </a:pPr>
            <a:r>
              <a:rPr lang="nb-NO" dirty="0"/>
              <a:t>Du kan søke om ny tillatelse med en gang du har skaffet dokumentene UDI ber om. Hvis alt er i orden, kan du få oppholdstillatelse uten begrensinger. </a:t>
            </a:r>
          </a:p>
          <a:p>
            <a:pPr marL="171450" indent="-171450">
              <a:buFont typeface="Arial" panose="020B0604020202020204" pitchFamily="34" charset="0"/>
              <a:buChar char="•"/>
            </a:pPr>
            <a:r>
              <a:rPr lang="nb-NO" dirty="0"/>
              <a:t>Det er politiet som undersøker om innsendte id-dokumenter er ekte.</a:t>
            </a:r>
          </a:p>
          <a:p>
            <a:pPr marL="171450" indent="-171450">
              <a:buFont typeface="Arial" panose="020B0604020202020204" pitchFamily="34" charset="0"/>
              <a:buChar char="•"/>
            </a:pPr>
            <a:r>
              <a:rPr lang="nb-NO" dirty="0"/>
              <a:t>UDI eller UNE vurderer om dokumentene du har levert er nok til å oppheve begrensningene. Selv om du leverer pass kan UDI eller UNE likevel være i tvil om hvem du er. Hvis det er tvil om hvem du er blir begrensningene i tillatelsen din ikke opphevet.</a:t>
            </a:r>
          </a:p>
          <a:p>
            <a:endParaRPr lang="nb-NO" dirty="0"/>
          </a:p>
          <a:p>
            <a:r>
              <a:rPr lang="nb-NO" b="1" dirty="0"/>
              <a:t>Hvis du ikke skaffer dokumentene</a:t>
            </a:r>
          </a:p>
          <a:p>
            <a:pPr marL="171450" indent="-171450">
              <a:buFont typeface="Arial" panose="020B0604020202020204" pitchFamily="34" charset="0"/>
              <a:buChar char="•"/>
            </a:pPr>
            <a:r>
              <a:rPr lang="nb-NO" dirty="0"/>
              <a:t>Hvis du ikke skaffer id-dokumentene UDI ber om, må du forklare hvorfor, og dokumentere hva du har gjort for å forsøke å skaffe dokumentene. Forklaringen må være skriftlig, på norsk eller engelsk.</a:t>
            </a:r>
          </a:p>
          <a:p>
            <a:pPr marL="171450" indent="-171450">
              <a:buFont typeface="Arial" panose="020B0604020202020204" pitchFamily="34" charset="0"/>
              <a:buChar char="•"/>
            </a:pPr>
            <a:r>
              <a:rPr lang="nb-NO" dirty="0"/>
              <a:t>Du må legge frem all den dokumentasjon du får fra ambassaden din, og eventuelle andre dokumenter du har, når du søker om fornyelse. </a:t>
            </a:r>
          </a:p>
          <a:p>
            <a:pPr marL="171450" indent="-171450">
              <a:buFont typeface="Arial" panose="020B0604020202020204" pitchFamily="34" charset="0"/>
              <a:buChar char="•"/>
            </a:pPr>
            <a:r>
              <a:rPr lang="nb-NO" dirty="0"/>
              <a:t>Du vil som hovedregel få fornyet tillatelsen din med samme begrensninger så lenge grunnlaget for tillatelsen din fortsatt er til stede.</a:t>
            </a:r>
          </a:p>
          <a:p>
            <a:endParaRPr lang="nb-NO" dirty="0"/>
          </a:p>
          <a:p>
            <a:r>
              <a:rPr lang="nb-NO" dirty="0"/>
              <a:t>Det kan være noen på mottaket som har en tillatelse etter Utlendingslovens §74. Da hjelper det ikke å fremskaffe dokumentasjon for å fjerne begrensningen. I brevet fra UDI (vedtaket) står det hvilken tillatelse du har fått.</a:t>
            </a:r>
          </a:p>
          <a:p>
            <a:endParaRPr lang="nb-NO" dirty="0"/>
          </a:p>
          <a:p>
            <a:r>
              <a:rPr lang="nb-NO" b="1" dirty="0"/>
              <a:t>Rett til å jobbe</a:t>
            </a:r>
          </a:p>
          <a:p>
            <a:r>
              <a:rPr lang="nb-NO" dirty="0"/>
              <a:t>Du får oppholdskort og kan bruke dette når du jobber. Oppholdskortet er bevis på at du har oppholdstillatelse i Norge og rett til å jobbe. Uten andre gyldige id-dokumenter kan du få problemer med å opprette bankkonto. </a:t>
            </a:r>
          </a:p>
          <a:p>
            <a:endParaRPr lang="nb-NO" dirty="0"/>
          </a:p>
          <a:p>
            <a:r>
              <a:rPr lang="nb-NO" dirty="0"/>
              <a:t>For mer informasjon om begrenset tillatelse se https://www.udi.no/skal-fornye/beskyttelse-asyl/#link-3633</a:t>
            </a:r>
          </a:p>
          <a:p>
            <a:endParaRPr lang="nb-NO" dirty="0"/>
          </a:p>
          <a:p>
            <a:r>
              <a:rPr lang="nb-NO" dirty="0"/>
              <a:t>Her er lenke til filmen  «Jeg har fått oppholdstillatelse på grunn av sterke menneskelige hensyn – barnefamilier: https://www.youtube.com/watch?v=mxQZt_lWnOE </a:t>
            </a:r>
          </a:p>
          <a:p>
            <a:endParaRPr lang="nb-NO" dirty="0"/>
          </a:p>
          <a:p>
            <a:r>
              <a:rPr lang="nb-NO" dirty="0"/>
              <a:t>Her er lenke til filmen «Identitet – hva er det? Del 1: https://www.youtube.com/watch?v=Pddc53404po</a:t>
            </a:r>
          </a:p>
          <a:p>
            <a:endParaRPr lang="nb-NO" dirty="0"/>
          </a:p>
        </p:txBody>
      </p:sp>
    </p:spTree>
    <p:extLst>
      <p:ext uri="{BB962C8B-B14F-4D97-AF65-F5344CB8AC3E}">
        <p14:creationId xmlns:p14="http://schemas.microsoft.com/office/powerpoint/2010/main" val="406471686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92500" lnSpcReduction="20000"/>
          </a:bodyPr>
          <a:lstStyle/>
          <a:p>
            <a:r>
              <a:rPr lang="nb-NO" b="1" dirty="0"/>
              <a:t>Støttetekst </a:t>
            </a:r>
          </a:p>
          <a:p>
            <a:r>
              <a:rPr lang="nb-NO" dirty="0"/>
              <a:t>I svaret (vedtaket) fra UDI vil det stå om du har fått en tillatelse som gir rett til bosetting. Hvis du har fått rett til bosetting kan Integrerings- og mangfoldsdirektoratet (</a:t>
            </a:r>
            <a:r>
              <a:rPr lang="nb-NO" dirty="0" err="1"/>
              <a:t>IMDi</a:t>
            </a:r>
            <a:r>
              <a:rPr lang="nb-NO" dirty="0"/>
              <a:t>) hjelpe deg med å finne en kommune å bo i. Du skal også ha en samtale med oss på mottaket. </a:t>
            </a:r>
          </a:p>
          <a:p>
            <a:endParaRPr lang="nb-NO" dirty="0"/>
          </a:p>
          <a:p>
            <a:r>
              <a:rPr lang="nb-NO" dirty="0"/>
              <a:t>I samtalen snakker vi om hva det betyr for deg at du får bli i Norge. Vi snakker blant annet om </a:t>
            </a:r>
          </a:p>
          <a:p>
            <a:pPr marL="171450" indent="-171450">
              <a:buFont typeface="Arial" panose="020B0604020202020204" pitchFamily="34" charset="0"/>
              <a:buChar char="•"/>
            </a:pPr>
            <a:r>
              <a:rPr lang="nb-NO" dirty="0"/>
              <a:t>bosetting</a:t>
            </a:r>
          </a:p>
          <a:p>
            <a:pPr marL="171450" indent="-171450">
              <a:buFont typeface="Arial" panose="020B0604020202020204" pitchFamily="34" charset="0"/>
              <a:buChar char="•"/>
            </a:pPr>
            <a:r>
              <a:rPr lang="nb-NO" dirty="0"/>
              <a:t>konsekvenser ved ikke å ta imot tilbud om tildelt kommune</a:t>
            </a:r>
          </a:p>
          <a:p>
            <a:pPr marL="171450" indent="-171450">
              <a:buFont typeface="Arial" panose="020B0604020202020204" pitchFamily="34" charset="0"/>
              <a:buChar char="•"/>
            </a:pPr>
            <a:r>
              <a:rPr lang="nb-NO" dirty="0"/>
              <a:t>rettigheter og plikter</a:t>
            </a:r>
          </a:p>
          <a:p>
            <a:pPr marL="171450" indent="-171450">
              <a:buFont typeface="Arial" panose="020B0604020202020204" pitchFamily="34" charset="0"/>
              <a:buChar char="•"/>
            </a:pPr>
            <a:r>
              <a:rPr lang="nb-NO" dirty="0"/>
              <a:t>dokumentasjon på utdanning og arbeidserfaring</a:t>
            </a:r>
          </a:p>
          <a:p>
            <a:pPr marL="171450" indent="-171450">
              <a:buFont typeface="Arial" panose="020B0604020202020204" pitchFamily="34" charset="0"/>
              <a:buChar char="•"/>
            </a:pPr>
            <a:r>
              <a:rPr lang="nb-NO" dirty="0"/>
              <a:t>praktisk informasjon om flytting </a:t>
            </a:r>
          </a:p>
          <a:p>
            <a:endParaRPr lang="nb-NO" dirty="0"/>
          </a:p>
          <a:p>
            <a:r>
              <a:rPr lang="nb-NO" dirty="0"/>
              <a:t>I samtalen skal vi også registrere informasjon slik at </a:t>
            </a:r>
            <a:r>
              <a:rPr lang="nb-NO" dirty="0" err="1"/>
              <a:t>IMDi</a:t>
            </a:r>
            <a:r>
              <a:rPr lang="nb-NO" dirty="0"/>
              <a:t> kan tilrettelegge for en god bosetting. Samtalen kan gjennomføres individuelt, eller sammen med familien din.  </a:t>
            </a:r>
          </a:p>
          <a:p>
            <a:endParaRPr lang="nb-NO" dirty="0"/>
          </a:p>
          <a:p>
            <a:r>
              <a:rPr lang="nb-NO" b="1" dirty="0"/>
              <a:t>Til deg som holder presentasjonen</a:t>
            </a:r>
          </a:p>
          <a:p>
            <a:pPr marL="0" indent="0">
              <a:buFont typeface="Arial" panose="020B0604020202020204" pitchFamily="34" charset="0"/>
              <a:buNone/>
            </a:pPr>
            <a:r>
              <a:rPr lang="nb-NO" dirty="0"/>
              <a:t>Si hvem som jobber med bosetting (bosettingsansvarlig) på mottaket. </a:t>
            </a:r>
          </a:p>
          <a:p>
            <a:pPr marL="0" indent="0">
              <a:buFont typeface="Arial" panose="020B0604020202020204" pitchFamily="34" charset="0"/>
              <a:buNone/>
            </a:pPr>
            <a:r>
              <a:rPr lang="nb-NO" dirty="0"/>
              <a:t>For mer informasjon om bosetting fra asylmottak se retningslinje UDI 2009-040 Krav til bosettingsforberedende arbeid i asylmottak på https://www.udiregelverk.no/. </a:t>
            </a:r>
          </a:p>
          <a:p>
            <a:pPr marL="0" indent="0">
              <a:buFont typeface="Arial" panose="020B0604020202020204" pitchFamily="34" charset="0"/>
              <a:buNone/>
            </a:pPr>
            <a:r>
              <a:rPr lang="nb-NO" dirty="0"/>
              <a:t>Se også https://www.udi.no/asylmottak/onsker-a-drive-mottak/styringsdokumenter-og-veiledere-for-asylmottak/</a:t>
            </a:r>
          </a:p>
          <a:p>
            <a:pPr marL="0" indent="0">
              <a:buFont typeface="Arial" panose="020B0604020202020204" pitchFamily="34" charset="0"/>
              <a:buNone/>
            </a:pPr>
            <a:r>
              <a:rPr lang="nb-NO" dirty="0"/>
              <a:t>Det er utarbeidet en veileder til bosettingssamtalen. Ta kontakt med regionkontoret for å få veilederen</a:t>
            </a:r>
          </a:p>
          <a:p>
            <a:pPr marL="0" indent="0">
              <a:buFont typeface="Arial" panose="020B0604020202020204" pitchFamily="34" charset="0"/>
              <a:buNone/>
            </a:pPr>
            <a:r>
              <a:rPr lang="nb-NO" dirty="0"/>
              <a:t>Du kan finne mer generell informasjon om bosetting på www.imdi.no</a:t>
            </a:r>
          </a:p>
          <a:p>
            <a:endParaRPr lang="nb-NO" dirty="0"/>
          </a:p>
          <a:p>
            <a:r>
              <a:rPr lang="nb-NO" b="1" dirty="0"/>
              <a:t>Introduksjonsprogrammet</a:t>
            </a:r>
          </a:p>
          <a:p>
            <a:r>
              <a:rPr lang="nb-NO" dirty="0"/>
              <a:t>Hvis du får spørsmål om introduksjonsprogrammet:</a:t>
            </a:r>
          </a:p>
          <a:p>
            <a:pPr marL="171450" indent="-171450">
              <a:buFont typeface="Arial" panose="020B0604020202020204" pitchFamily="34" charset="0"/>
              <a:buChar char="•"/>
            </a:pPr>
            <a:r>
              <a:rPr lang="nb-NO" dirty="0"/>
              <a:t>Du som blir bosatt med hjelp fra </a:t>
            </a:r>
            <a:r>
              <a:rPr lang="nb-NO" dirty="0" err="1"/>
              <a:t>IMDi</a:t>
            </a:r>
            <a:r>
              <a:rPr lang="nb-NO" dirty="0"/>
              <a:t>, og er mellom 18 og 55 år, får rett og plikt til å delta i introduksjonsprogrammet. </a:t>
            </a:r>
          </a:p>
          <a:p>
            <a:pPr marL="171450" indent="-171450">
              <a:buFont typeface="Arial" panose="020B0604020202020204" pitchFamily="34" charset="0"/>
              <a:buChar char="•"/>
            </a:pPr>
            <a:r>
              <a:rPr lang="nb-NO" dirty="0"/>
              <a:t>Gjennom programmet får du lære norsk og du får mer kunnskap om det norske samfunnet. </a:t>
            </a:r>
          </a:p>
          <a:p>
            <a:pPr marL="171450" indent="-171450">
              <a:buFont typeface="Arial" panose="020B0604020202020204" pitchFamily="34" charset="0"/>
              <a:buChar char="•"/>
            </a:pPr>
            <a:r>
              <a:rPr lang="nb-NO" dirty="0"/>
              <a:t>Du får prøve deg i arbeidslivet. </a:t>
            </a:r>
          </a:p>
          <a:p>
            <a:pPr marL="171450" indent="-171450">
              <a:buFont typeface="Arial" panose="020B0604020202020204" pitchFamily="34" charset="0"/>
              <a:buChar char="•"/>
            </a:pPr>
            <a:r>
              <a:rPr lang="nb-NO" dirty="0"/>
              <a:t>Målet med introduksjonsprogrammet er å hjelpe deg ut i jobb eller utdanning, slik at du kan klare deg selv økonomisk. </a:t>
            </a:r>
          </a:p>
          <a:p>
            <a:endParaRPr lang="nb-NO" dirty="0"/>
          </a:p>
        </p:txBody>
      </p:sp>
    </p:spTree>
    <p:extLst>
      <p:ext uri="{BB962C8B-B14F-4D97-AF65-F5344CB8AC3E}">
        <p14:creationId xmlns:p14="http://schemas.microsoft.com/office/powerpoint/2010/main" val="392205902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a:t>
            </a:r>
          </a:p>
          <a:p>
            <a:r>
              <a:rPr lang="nb-NO" b="0" dirty="0"/>
              <a:t>Det står i brevet fra UDI (vedtaket) om du kan bosettes med hjelp fra </a:t>
            </a:r>
            <a:r>
              <a:rPr lang="nb-NO" b="0" dirty="0" err="1"/>
              <a:t>IMDi</a:t>
            </a:r>
            <a:r>
              <a:rPr lang="nb-NO" b="0" dirty="0"/>
              <a:t>. Hvis du ikke bor på asylmottak når du får brevet og ønsker å bli bosatt, må du ta kontakt med </a:t>
            </a:r>
            <a:r>
              <a:rPr lang="nb-NO" b="0" dirty="0" err="1"/>
              <a:t>IMDi</a:t>
            </a:r>
            <a:r>
              <a:rPr lang="nb-NO" b="0" dirty="0"/>
              <a:t>, senest seks måneder etter at du fikk brevet. </a:t>
            </a:r>
          </a:p>
          <a:p>
            <a:endParaRPr lang="nb-NO" b="1" dirty="0"/>
          </a:p>
          <a:p>
            <a:r>
              <a:rPr lang="nb-NO" b="1" dirty="0"/>
              <a:t>Til deg som holder presentasjonen</a:t>
            </a:r>
          </a:p>
          <a:p>
            <a:r>
              <a:rPr lang="nb-NO" b="0" dirty="0"/>
              <a:t>For mer informasjon se https://www.imdi.no/planlegging-og-bosetting/slik-bosettes-flyktninger/familier-og-enslige-voksne/</a:t>
            </a:r>
          </a:p>
        </p:txBody>
      </p:sp>
    </p:spTree>
    <p:extLst>
      <p:ext uri="{BB962C8B-B14F-4D97-AF65-F5344CB8AC3E}">
        <p14:creationId xmlns:p14="http://schemas.microsoft.com/office/powerpoint/2010/main" val="34075409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92500" lnSpcReduction="10000"/>
          </a:bodyPr>
          <a:lstStyle/>
          <a:p>
            <a:r>
              <a:rPr lang="nb-NO" b="1" dirty="0"/>
              <a:t>Refleksjonsoppgave</a:t>
            </a:r>
          </a:p>
          <a:p>
            <a:r>
              <a:rPr lang="nb-NO" dirty="0"/>
              <a:t>Hamid og Muhammed er venner. De kommer fra Irak. Begge er gift, og de reiser sammen med konene sine og flere mindreårige barn. De søker om beskyttelse og får svar på søknadene sine omtrent samtidig. De får forklart at de har fått oppholdstillatelse på grunn av sterke menneskelige hensyn. De oppdager etter hvert at det er stor forskjell på hvilke rettigheter de har fått. </a:t>
            </a:r>
          </a:p>
          <a:p>
            <a:endParaRPr lang="nb-NO" dirty="0"/>
          </a:p>
          <a:p>
            <a:r>
              <a:rPr lang="nb-NO" dirty="0"/>
              <a:t>Snakk om hva som kan være grunnen til at Hamid og Muhammed har fått samme type oppholdstillatelse, men ikke de samme rettighetene.</a:t>
            </a:r>
          </a:p>
          <a:p>
            <a:endParaRPr lang="nb-NO" dirty="0"/>
          </a:p>
          <a:p>
            <a:r>
              <a:rPr lang="nb-NO" b="1" dirty="0"/>
              <a:t>Forslag til forklaring</a:t>
            </a:r>
          </a:p>
          <a:p>
            <a:r>
              <a:rPr lang="nb-NO" dirty="0"/>
              <a:t>For å få en tillatelse på grunn av sterke menneskelige hensyn er det et krav at du har levert inn gyldige ID-dokumenter. Hvis det er tvil om identiteten, eller du ikke har levert inn ID-dokumenter kan du få en begrenset tillatelse. En begrenset tillatelse gir færre rettigheter. </a:t>
            </a:r>
          </a:p>
          <a:p>
            <a:endParaRPr lang="nb-NO" dirty="0"/>
          </a:p>
          <a:p>
            <a:r>
              <a:rPr lang="nb-NO" b="1" dirty="0"/>
              <a:t>Forslag til metode</a:t>
            </a:r>
          </a:p>
          <a:p>
            <a:r>
              <a:rPr lang="nb-NO" dirty="0"/>
              <a:t>Del beboerne inn i små grupper, for eksempel kan en gruppe være på fire personer. Hvis gruppen er trygg på hverandre kan dere snakke om oppgaven i felleskap. </a:t>
            </a:r>
          </a:p>
          <a:p>
            <a:endParaRPr lang="nb-NO" dirty="0"/>
          </a:p>
          <a:p>
            <a:r>
              <a:rPr lang="nb-NO" b="1" dirty="0"/>
              <a:t>Til deg som holder presentasjonen  </a:t>
            </a:r>
          </a:p>
          <a:p>
            <a:r>
              <a:rPr lang="nb-NO" b="1" dirty="0"/>
              <a:t>Forslag til forklaring</a:t>
            </a:r>
          </a:p>
          <a:p>
            <a:r>
              <a:rPr lang="nb-NO" dirty="0"/>
              <a:t>For å få en tillatelse på grunn av sterke menneskelige hensyn er det et krav at du har levert inn gyldige ID-dokumenter. Hvis det er tvil om identiteten, eller du ikke har levert inn ID-dokumenter vil du få en begrenset tillatelse. En begrenset tillatelse gir færre rettigheter. </a:t>
            </a:r>
          </a:p>
          <a:p>
            <a:endParaRPr lang="nb-NO" dirty="0"/>
          </a:p>
          <a:p>
            <a:r>
              <a:rPr lang="nb-NO" b="1" dirty="0"/>
              <a:t>Forslag til metode</a:t>
            </a:r>
          </a:p>
          <a:p>
            <a:r>
              <a:rPr lang="nb-NO" dirty="0"/>
              <a:t>Del beboerne inn i små grupper, for eksempel kan en gruppe være på fire personer. Hvis gruppen er trygg på hverandre kan dere snakke om oppgaven i felleskap. </a:t>
            </a:r>
          </a:p>
          <a:p>
            <a:endParaRPr lang="nb-NO" dirty="0"/>
          </a:p>
        </p:txBody>
      </p:sp>
    </p:spTree>
    <p:extLst>
      <p:ext uri="{BB962C8B-B14F-4D97-AF65-F5344CB8AC3E}">
        <p14:creationId xmlns:p14="http://schemas.microsoft.com/office/powerpoint/2010/main" val="397041761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92500" lnSpcReduction="20000"/>
          </a:bodyPr>
          <a:lstStyle/>
          <a:p>
            <a:r>
              <a:rPr lang="nb-NO" b="1" dirty="0"/>
              <a:t>Støttetekst</a:t>
            </a:r>
          </a:p>
          <a:p>
            <a:r>
              <a:rPr lang="nb-NO" dirty="0"/>
              <a:t>Du kan miste tillatelsen din i Norge på to måter: </a:t>
            </a:r>
          </a:p>
          <a:p>
            <a:pPr marL="171450" indent="-171450">
              <a:buFont typeface="Arial" panose="020B0604020202020204" pitchFamily="34" charset="0"/>
              <a:buChar char="•"/>
            </a:pPr>
            <a:r>
              <a:rPr lang="nb-NO" dirty="0"/>
              <a:t> fordi du har løyet til norske myndigheter</a:t>
            </a:r>
          </a:p>
          <a:p>
            <a:pPr marL="171450" indent="-171450">
              <a:buFont typeface="Arial" panose="020B0604020202020204" pitchFamily="34" charset="0"/>
              <a:buChar char="•"/>
            </a:pPr>
            <a:r>
              <a:rPr lang="nb-NO" dirty="0"/>
              <a:t> fordi du ikke lenger trenger beskyttelse</a:t>
            </a:r>
          </a:p>
          <a:p>
            <a:endParaRPr lang="nb-NO" dirty="0"/>
          </a:p>
          <a:p>
            <a:r>
              <a:rPr lang="nb-NO" b="1" dirty="0"/>
              <a:t>Du har ikke fortalt sannheten til norske myndigheter</a:t>
            </a:r>
          </a:p>
          <a:p>
            <a:r>
              <a:rPr lang="nb-NO" dirty="0"/>
              <a:t>Du har plikt til å fortelle sannheten til norske myndigheter. Det gjelder blant annet til politiet, UDI og UNE. Hvis du lyver, kan dette få betydning for søknaden din, og andre søknader fra deg eller familien din senere. </a:t>
            </a:r>
          </a:p>
          <a:p>
            <a:r>
              <a:rPr lang="nb-NO" dirty="0"/>
              <a:t>UDI kan trekke tilbake tillatelsen din hvis du lyver, eller ikke forteller ting som kan være viktige for saken din. Du får brev fra UDI hvis tillatelsen din kalles tilbake (forhåndsvarsel). Du har rett til hjelp fra advokat hvis dette skjer. </a:t>
            </a:r>
          </a:p>
          <a:p>
            <a:endParaRPr lang="nb-NO" dirty="0"/>
          </a:p>
          <a:p>
            <a:r>
              <a:rPr lang="nb-NO" b="0" dirty="0"/>
              <a:t>Konsekvenser hvis UDI kaller tilbake tillatelsen:</a:t>
            </a:r>
          </a:p>
          <a:p>
            <a:pPr marL="171450" indent="-171450">
              <a:buFont typeface="Arial" panose="020B0604020202020204" pitchFamily="34" charset="0"/>
              <a:buChar char="•"/>
            </a:pPr>
            <a:r>
              <a:rPr lang="nb-NO" dirty="0"/>
              <a:t>Du mister alle tillatelsene dine. </a:t>
            </a:r>
          </a:p>
          <a:p>
            <a:pPr marL="171450" indent="-171450">
              <a:buFont typeface="Arial" panose="020B0604020202020204" pitchFamily="34" charset="0"/>
              <a:buChar char="•"/>
            </a:pPr>
            <a:r>
              <a:rPr lang="nb-NO" dirty="0"/>
              <a:t>Den opparbeidede botiden i Norge vil falle bort, det kan ha betydning for å få norsk statsborgerskap.</a:t>
            </a:r>
          </a:p>
          <a:p>
            <a:pPr marL="171450" indent="-171450">
              <a:buFont typeface="Arial" panose="020B0604020202020204" pitchFamily="34" charset="0"/>
              <a:buChar char="•"/>
            </a:pPr>
            <a:r>
              <a:rPr lang="nb-NO" dirty="0"/>
              <a:t>Hvis du har løyet til norske myndigheter, kan alle familiemedlemmer som har fått familiegjenforening basert på tillatelsen din, risikere å miste tillatelsen sin.</a:t>
            </a:r>
          </a:p>
          <a:p>
            <a:endParaRPr lang="nb-NO" dirty="0"/>
          </a:p>
          <a:p>
            <a:r>
              <a:rPr lang="nb-NO" b="1" dirty="0"/>
              <a:t>Du har ikke lenger behov for beskyttelse</a:t>
            </a:r>
          </a:p>
          <a:p>
            <a:r>
              <a:rPr lang="nb-NO" dirty="0"/>
              <a:t>Du kan miste tillatelsen din hvis norske myndigheter mener at du ikke lenger har behov for beskyttelse. </a:t>
            </a:r>
          </a:p>
          <a:p>
            <a:endParaRPr lang="nb-NO" dirty="0"/>
          </a:p>
          <a:p>
            <a:r>
              <a:rPr lang="nb-NO" dirty="0"/>
              <a:t>Det kan være ulike grunner til at du mister tillatelsen din, som for eksempel:</a:t>
            </a:r>
          </a:p>
          <a:p>
            <a:pPr marL="171450" indent="-171450">
              <a:buFont typeface="Arial" panose="020B0604020202020204" pitchFamily="34" charset="0"/>
              <a:buChar char="•"/>
            </a:pPr>
            <a:r>
              <a:rPr lang="nb-NO" dirty="0"/>
              <a:t>Du reiser til hjemlandet ditt på ferie, eller flytter hjem </a:t>
            </a:r>
          </a:p>
          <a:p>
            <a:pPr marL="171450" indent="-171450">
              <a:buFont typeface="Arial" panose="020B0604020202020204" pitchFamily="34" charset="0"/>
              <a:buChar char="•"/>
            </a:pPr>
            <a:r>
              <a:rPr lang="nb-NO" dirty="0"/>
              <a:t>Situasjonen i hjemlandet ditt endres, slik at du ikke lenger har behov for beskyttelse</a:t>
            </a:r>
          </a:p>
          <a:p>
            <a:pPr marL="171450" indent="-171450">
              <a:buFont typeface="Arial" panose="020B0604020202020204" pitchFamily="34" charset="0"/>
              <a:buChar char="•"/>
            </a:pPr>
            <a:r>
              <a:rPr lang="nb-NO" dirty="0"/>
              <a:t>Du har blitt statsborger i et annet land</a:t>
            </a:r>
          </a:p>
          <a:p>
            <a:endParaRPr lang="nb-NO" dirty="0"/>
          </a:p>
          <a:p>
            <a:r>
              <a:rPr lang="nb-NO" dirty="0"/>
              <a:t>Hvis du har fått permanent oppholdstillatelse vil ikke tillatelsen bli kalt tilbake selv om du ikke lenger har behov for beskyttelse. Dine familiemedlemmer vil heller ikke automatisk få kalt tilbake tillatelsene sine. Alle tidligere tillatelser vil være gyldige og vil telle som opparbeidet botid. </a:t>
            </a:r>
          </a:p>
          <a:p>
            <a:endParaRPr lang="nb-NO" dirty="0"/>
          </a:p>
        </p:txBody>
      </p:sp>
    </p:spTree>
    <p:extLst>
      <p:ext uri="{BB962C8B-B14F-4D97-AF65-F5344CB8AC3E}">
        <p14:creationId xmlns:p14="http://schemas.microsoft.com/office/powerpoint/2010/main" val="368338633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a:t>
            </a:r>
          </a:p>
          <a:p>
            <a:r>
              <a:rPr lang="nb-NO" dirty="0"/>
              <a:t>Hvis du bryter norsk lov kan du bli utvist fra Norge og Schengen-området. Det betyr at du ikke har lov til å reise inn igjen til Norge eller Schengenlandene. Du kan bli straffet hvis du kommer tilbake. </a:t>
            </a:r>
          </a:p>
          <a:p>
            <a:endParaRPr lang="nb-NO" dirty="0"/>
          </a:p>
          <a:p>
            <a:r>
              <a:rPr lang="nb-NO" b="1" dirty="0"/>
              <a:t>Til deg som holder presentasjonen</a:t>
            </a:r>
          </a:p>
          <a:p>
            <a:r>
              <a:rPr lang="nb-NO" dirty="0"/>
              <a:t>Innreiseforbudet kan gjøres varig eller tidsbegrenset, som hovedregel ikke kortere enn 2 år. </a:t>
            </a:r>
          </a:p>
          <a:p>
            <a:endParaRPr lang="nb-NO" dirty="0"/>
          </a:p>
          <a:p>
            <a:r>
              <a:rPr lang="nb-NO" dirty="0"/>
              <a:t>Se www.udi.no for mer informasjon. </a:t>
            </a:r>
          </a:p>
          <a:p>
            <a:endParaRPr lang="nb-NO" dirty="0"/>
          </a:p>
          <a:p>
            <a:r>
              <a:rPr lang="nb-NO" b="1" dirty="0"/>
              <a:t>Forslag til metode</a:t>
            </a:r>
          </a:p>
          <a:p>
            <a:r>
              <a:rPr lang="nb-NO" dirty="0"/>
              <a:t>Vis kart over Schengenlandene</a:t>
            </a:r>
          </a:p>
          <a:p>
            <a:endParaRPr lang="nb-NO" dirty="0"/>
          </a:p>
        </p:txBody>
      </p:sp>
    </p:spTree>
    <p:extLst>
      <p:ext uri="{BB962C8B-B14F-4D97-AF65-F5344CB8AC3E}">
        <p14:creationId xmlns:p14="http://schemas.microsoft.com/office/powerpoint/2010/main" val="239201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100" b="1" dirty="0"/>
              <a:t>Støttetekst</a:t>
            </a:r>
          </a:p>
          <a:p>
            <a:r>
              <a:rPr lang="nb-NO" sz="1100" dirty="0"/>
              <a:t>Her ser du hva som skjer når du søker om beskyttelse (asylprosessen)</a:t>
            </a:r>
          </a:p>
          <a:p>
            <a:pPr marL="171450" indent="-171450">
              <a:buFont typeface="Arial" panose="020B0604020202020204" pitchFamily="34" charset="0"/>
              <a:buChar char="•"/>
            </a:pPr>
            <a:r>
              <a:rPr lang="nb-NO" sz="1100" dirty="0"/>
              <a:t>Du registrerer at du søker om beskyttelse i Norge.</a:t>
            </a:r>
          </a:p>
          <a:p>
            <a:pPr marL="171450" indent="-171450">
              <a:buFont typeface="Arial" panose="020B0604020202020204" pitchFamily="34" charset="0"/>
              <a:buChar char="•"/>
            </a:pPr>
            <a:r>
              <a:rPr lang="nb-NO" sz="1100" dirty="0"/>
              <a:t>Du må gjennom noen undersøkelser, og du får en del informasjon.</a:t>
            </a:r>
          </a:p>
          <a:p>
            <a:pPr marL="171450" indent="-171450">
              <a:buFont typeface="Arial" panose="020B0604020202020204" pitchFamily="34" charset="0"/>
              <a:buChar char="•"/>
            </a:pPr>
            <a:r>
              <a:rPr lang="nb-NO" sz="1100" dirty="0"/>
              <a:t>Du blir intervjuet.</a:t>
            </a:r>
          </a:p>
          <a:p>
            <a:pPr marL="171450" indent="-171450">
              <a:buFont typeface="Arial" panose="020B0604020202020204" pitchFamily="34" charset="0"/>
              <a:buChar char="•"/>
            </a:pPr>
            <a:r>
              <a:rPr lang="nb-NO" sz="1100" dirty="0"/>
              <a:t>Du får svar på søknaden din. Du får enten bli i Norge eller du må reise hjem.</a:t>
            </a:r>
          </a:p>
          <a:p>
            <a:endParaRPr lang="nb-NO" sz="1100" dirty="0"/>
          </a:p>
          <a:p>
            <a:r>
              <a:rPr lang="nb-NO" dirty="0">
                <a:latin typeface="Arial"/>
                <a:cs typeface="Arial"/>
              </a:rPr>
              <a:t>Det er laget en nettside med informasjon om asylprosessen, og hva som skjer hvis du får bli i Norge eller hvis du må reise hjem, se Asylinfo.no. Informasjonen er på flere språk. Du finner også flere filmer på nettsiden.</a:t>
            </a:r>
          </a:p>
          <a:p>
            <a:endParaRPr lang="nb-NO" dirty="0">
              <a:latin typeface="Arial"/>
              <a:cs typeface="Arial"/>
            </a:endParaRPr>
          </a:p>
          <a:p>
            <a:r>
              <a:rPr lang="nb-NO" sz="1100" dirty="0">
                <a:latin typeface="Arial"/>
                <a:cs typeface="Arial"/>
              </a:rPr>
              <a:t>Når du søker om beskyttelse blir du kalt asylsøker.</a:t>
            </a:r>
            <a:r>
              <a:rPr lang="nb-NO" dirty="0">
                <a:latin typeface="Arial"/>
                <a:cs typeface="Arial"/>
              </a:rPr>
              <a:t> </a:t>
            </a:r>
            <a:endParaRPr lang="nb-NO" dirty="0"/>
          </a:p>
          <a:p>
            <a:endParaRPr lang="nb-NO" sz="1100" dirty="0"/>
          </a:p>
          <a:p>
            <a:r>
              <a:rPr lang="nb-NO" sz="1100" b="1" dirty="0"/>
              <a:t>Til deg som holder presentasjonen</a:t>
            </a:r>
          </a:p>
          <a:p>
            <a:r>
              <a:rPr lang="nb-NO" sz="1100" b="1" dirty="0"/>
              <a:t>Forslag til metode</a:t>
            </a:r>
          </a:p>
          <a:p>
            <a:r>
              <a:rPr lang="nb-NO" sz="1100" dirty="0"/>
              <a:t>Gå gjennom det som står på asylkartet. </a:t>
            </a:r>
          </a:p>
          <a:p>
            <a:r>
              <a:rPr lang="nb-NO" sz="1100" dirty="0" err="1"/>
              <a:t>Print</a:t>
            </a:r>
            <a:r>
              <a:rPr lang="nb-NO" sz="1100" dirty="0"/>
              <a:t> gjerne ut asylkartet og del ut til beboerne. Når du viser det på skjermen, kan de se asylprosessen på eget ark. </a:t>
            </a:r>
          </a:p>
          <a:p>
            <a:r>
              <a:rPr lang="nb-NO" sz="1100" dirty="0"/>
              <a:t>Du finner en annen måte å vise gangen i asylprosessen på: https://www.udi.no/har-sokt/beskyttelse-asyl/dette-skjer-nar-du-har-sokt-om-beskyttelse-asyl/</a:t>
            </a:r>
          </a:p>
          <a:p>
            <a:endParaRPr lang="nb-NO" dirty="0"/>
          </a:p>
        </p:txBody>
      </p:sp>
    </p:spTree>
    <p:extLst>
      <p:ext uri="{BB962C8B-B14F-4D97-AF65-F5344CB8AC3E}">
        <p14:creationId xmlns:p14="http://schemas.microsoft.com/office/powerpoint/2010/main" val="353001189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Til deg som holder presentasjonen</a:t>
            </a:r>
          </a:p>
          <a:p>
            <a:r>
              <a:rPr lang="nb-NO" dirty="0"/>
              <a:t>Repeter kort temaene dere har gått igjennom i dag. Rekker du mer enn foil 39-49 på ett møte, kan du vente med oppsummeringen/evalueringen til du er ferdig med møtet. </a:t>
            </a:r>
          </a:p>
          <a:p>
            <a:r>
              <a:rPr lang="nb-NO" dirty="0"/>
              <a:t>Still spørsmål til gruppen, for å sjekke om informasjonen er forstått. </a:t>
            </a:r>
          </a:p>
          <a:p>
            <a:r>
              <a:rPr lang="nb-NO" dirty="0"/>
              <a:t>Spør om det er noe som fortsatt er uklart, og hvordan møtene kan bli mer nyttige og lærerike. </a:t>
            </a:r>
          </a:p>
          <a:p>
            <a:endParaRPr lang="nb-NO" dirty="0"/>
          </a:p>
          <a:p>
            <a:r>
              <a:rPr lang="nb-NO" b="1" dirty="0"/>
              <a:t>Forslag til spørsmål</a:t>
            </a:r>
          </a:p>
          <a:p>
            <a:pPr marL="171450" indent="-171450">
              <a:buFont typeface="Arial" panose="020B0604020202020204" pitchFamily="34" charset="0"/>
              <a:buChar char="•"/>
            </a:pPr>
            <a:r>
              <a:rPr lang="nb-NO" dirty="0"/>
              <a:t>Hva har du lært?</a:t>
            </a:r>
          </a:p>
          <a:p>
            <a:pPr marL="171450" indent="-171450">
              <a:buFont typeface="Arial" panose="020B0604020202020204" pitchFamily="34" charset="0"/>
              <a:buChar char="•"/>
            </a:pPr>
            <a:r>
              <a:rPr lang="nb-NO" dirty="0"/>
              <a:t>Er det noe du lurer på?</a:t>
            </a:r>
          </a:p>
          <a:p>
            <a:pPr marL="171450" indent="-171450">
              <a:buFont typeface="Arial" panose="020B0604020202020204" pitchFamily="34" charset="0"/>
              <a:buChar char="•"/>
            </a:pPr>
            <a:r>
              <a:rPr lang="nb-NO" dirty="0"/>
              <a:t>Er det noe vi kan forklare bedre?</a:t>
            </a:r>
          </a:p>
          <a:p>
            <a:pPr marL="171450" indent="-171450">
              <a:buFont typeface="Arial" panose="020B0604020202020204" pitchFamily="34" charset="0"/>
              <a:buChar char="•"/>
            </a:pPr>
            <a:r>
              <a:rPr lang="nb-NO" dirty="0"/>
              <a:t>Er det informasjon du savner?</a:t>
            </a:r>
          </a:p>
          <a:p>
            <a:pPr marL="171450" indent="-171450">
              <a:buFont typeface="Arial" panose="020B0604020202020204" pitchFamily="34" charset="0"/>
              <a:buChar char="•"/>
            </a:pPr>
            <a:r>
              <a:rPr lang="nb-NO" dirty="0"/>
              <a:t>Hvordan kan møtene bli mer nyttige og lærerike?</a:t>
            </a:r>
          </a:p>
          <a:p>
            <a:endParaRPr lang="nb-NO" dirty="0"/>
          </a:p>
          <a:p>
            <a:r>
              <a:rPr lang="nb-NO" dirty="0"/>
              <a:t>Husk å si hva som er temaet for neste møte. Spør om det er noe spesielt de vil fokuserer på/vil ha informasjon om. </a:t>
            </a:r>
          </a:p>
          <a:p>
            <a:endParaRPr lang="nb-NO" dirty="0"/>
          </a:p>
          <a:p>
            <a:r>
              <a:rPr lang="nb-NO" b="1" dirty="0"/>
              <a:t>Du kan også </a:t>
            </a:r>
          </a:p>
          <a:p>
            <a:r>
              <a:rPr lang="nb-NO" dirty="0"/>
              <a:t>Ta en runde og be beboerne om å si en ting de husker fra det dere har snakket om. Styr runden, legg til hvis noe mangler. Hvis noen ikke vil si noe er det lov å si pass. </a:t>
            </a:r>
          </a:p>
          <a:p>
            <a:endParaRPr lang="nb-NO" dirty="0"/>
          </a:p>
        </p:txBody>
      </p:sp>
    </p:spTree>
    <p:extLst>
      <p:ext uri="{BB962C8B-B14F-4D97-AF65-F5344CB8AC3E}">
        <p14:creationId xmlns:p14="http://schemas.microsoft.com/office/powerpoint/2010/main" val="346344907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 </a:t>
            </a:r>
          </a:p>
          <a:p>
            <a:r>
              <a:rPr lang="nb-NO" dirty="0"/>
              <a:t>Hvis du ikke har rett til beskyttelse eller opphold av andre grunner, får du ikke bli i Norge.  </a:t>
            </a:r>
          </a:p>
          <a:p>
            <a:endParaRPr lang="nb-NO" dirty="0"/>
          </a:p>
          <a:p>
            <a:r>
              <a:rPr lang="nb-NO" b="1" dirty="0"/>
              <a:t>Forslag til metode</a:t>
            </a:r>
          </a:p>
          <a:p>
            <a:r>
              <a:rPr lang="nb-NO" dirty="0"/>
              <a:t>På UDI sine nettsider er det lagt ut noen filmsnutter om retur. Filmene er laget på forskjellige språk. Du finner dem nederst på siden i denne lenken https://www.udi.no/retur/hvordan-snakke-med-noen-om-assistert-retur/#link-18080</a:t>
            </a:r>
          </a:p>
        </p:txBody>
      </p:sp>
    </p:spTree>
    <p:extLst>
      <p:ext uri="{BB962C8B-B14F-4D97-AF65-F5344CB8AC3E}">
        <p14:creationId xmlns:p14="http://schemas.microsoft.com/office/powerpoint/2010/main" val="6010159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55000" lnSpcReduction="20000"/>
          </a:bodyPr>
          <a:lstStyle/>
          <a:p>
            <a:r>
              <a:rPr lang="nb-NO" b="1" dirty="0"/>
              <a:t>Støttetekst</a:t>
            </a:r>
          </a:p>
          <a:p>
            <a:r>
              <a:rPr lang="nb-NO" dirty="0"/>
              <a:t>Hvis UDI bestemmer at du ikke får bli i Norge, får du tilbud om gratis hjelp fra en advokat. Advokaten skal informere deg om hva som står i brevet fra UDI (vedtaket) og hjelpe deg å vurdere om du skal klage. Hvis det er noe du har glemt å fortelle, eller det har skjedd noe etter asylintervjuet, må du fortelle om det nå.</a:t>
            </a:r>
          </a:p>
          <a:p>
            <a:endParaRPr lang="nb-NO" dirty="0"/>
          </a:p>
          <a:p>
            <a:r>
              <a:rPr lang="nb-NO" dirty="0"/>
              <a:t>Advokaten er ikke en del av norske myndigheter. Advokatens rolle er å få frem dine interesser på best mulig måte. </a:t>
            </a:r>
          </a:p>
          <a:p>
            <a:endParaRPr lang="nb-NO" dirty="0"/>
          </a:p>
          <a:p>
            <a:r>
              <a:rPr lang="nb-NO" dirty="0"/>
              <a:t>Advokaten har taushetsplikt og kan ikke fortelle det du sier til andre, heller ikke til UDI eller UNE. </a:t>
            </a:r>
          </a:p>
          <a:p>
            <a:endParaRPr lang="nb-NO" dirty="0"/>
          </a:p>
          <a:p>
            <a:r>
              <a:rPr lang="nb-NO" b="1" dirty="0"/>
              <a:t>Hva betyr gratis hjelp fra advokat</a:t>
            </a:r>
          </a:p>
          <a:p>
            <a:r>
              <a:rPr lang="nb-NO" dirty="0"/>
              <a:t>Hvis du ikke får bli i Norge, får du gratis hjelp fra advokat, vanligvis 5 timer. Disse timene skal advokaten bruke på å </a:t>
            </a:r>
          </a:p>
          <a:p>
            <a:pPr marL="171450" indent="-171450">
              <a:buFont typeface="Arial" panose="020B0604020202020204" pitchFamily="34" charset="0"/>
              <a:buChar char="•"/>
            </a:pPr>
            <a:r>
              <a:rPr lang="nb-NO" dirty="0"/>
              <a:t>sette seg inn i brevet fra UDI (vedtaket)</a:t>
            </a:r>
          </a:p>
          <a:p>
            <a:pPr marL="171450" indent="-171450">
              <a:buFont typeface="Arial" panose="020B0604020202020204" pitchFamily="34" charset="0"/>
              <a:buChar char="•"/>
            </a:pPr>
            <a:r>
              <a:rPr lang="nb-NO" dirty="0"/>
              <a:t>ha samtale med deg (informere om hva som står i brevet fra UDI) </a:t>
            </a:r>
          </a:p>
          <a:p>
            <a:pPr marL="171450" indent="-171450">
              <a:buFont typeface="Arial" panose="020B0604020202020204" pitchFamily="34" charset="0"/>
              <a:buChar char="•"/>
            </a:pPr>
            <a:r>
              <a:rPr lang="nb-NO" dirty="0"/>
              <a:t>innhente informasjon til en eventuell klage</a:t>
            </a:r>
          </a:p>
          <a:p>
            <a:pPr marL="171450" indent="-171450">
              <a:buFont typeface="Arial" panose="020B0604020202020204" pitchFamily="34" charset="0"/>
              <a:buChar char="•"/>
            </a:pPr>
            <a:r>
              <a:rPr lang="nb-NO" dirty="0"/>
              <a:t>gjøre juridiske vurderinger og skrive en eventuell klage (klage betyr rett til å kreve at saken blir behandlet på nytt)</a:t>
            </a:r>
          </a:p>
          <a:p>
            <a:pPr marL="171450" indent="-171450">
              <a:buFont typeface="Arial" panose="020B0604020202020204" pitchFamily="34" charset="0"/>
              <a:buChar char="•"/>
            </a:pPr>
            <a:r>
              <a:rPr lang="nb-NO" dirty="0"/>
              <a:t>(eventuelt, underrette om vedtak fra UNE)</a:t>
            </a:r>
          </a:p>
          <a:p>
            <a:endParaRPr lang="nb-NO" dirty="0"/>
          </a:p>
          <a:p>
            <a:r>
              <a:rPr lang="nb-NO" b="1" dirty="0"/>
              <a:t>UDI finner advokat til deg</a:t>
            </a:r>
          </a:p>
          <a:p>
            <a:r>
              <a:rPr lang="nb-NO" dirty="0"/>
              <a:t>UDI finner en advokat til deg som har erfaring med å jobbe med søknader om beskyttelse.</a:t>
            </a:r>
          </a:p>
          <a:p>
            <a:endParaRPr lang="nb-NO" dirty="0"/>
          </a:p>
          <a:p>
            <a:r>
              <a:rPr lang="nb-NO" b="1" dirty="0"/>
              <a:t>Velge advokat selv</a:t>
            </a:r>
          </a:p>
          <a:p>
            <a:r>
              <a:rPr lang="nb-NO" dirty="0"/>
              <a:t>Hvis du velger din egen advokat, må advokaten ta kontakt med UDI så fort som mulig. Du må kanskje betale for advokaten selv. </a:t>
            </a:r>
          </a:p>
          <a:p>
            <a:endParaRPr lang="nb-NO" dirty="0"/>
          </a:p>
          <a:p>
            <a:r>
              <a:rPr lang="nb-NO" b="1" dirty="0"/>
              <a:t>Bytte av advokat</a:t>
            </a:r>
          </a:p>
          <a:p>
            <a:r>
              <a:rPr lang="nb-NO" dirty="0"/>
              <a:t>Du kan bytte advokat. Hvis du gjør det, må advokaten gi beskjed om byttet til UDI. Du får ikke nye timer med gratis advokathjelp om du bytter advokat. </a:t>
            </a:r>
          </a:p>
          <a:p>
            <a:endParaRPr lang="nb-NO" dirty="0"/>
          </a:p>
          <a:p>
            <a:r>
              <a:rPr lang="nb-NO" b="1" dirty="0"/>
              <a:t>Velge å ikke ha advokat</a:t>
            </a:r>
          </a:p>
          <a:p>
            <a:r>
              <a:rPr lang="nb-NO" dirty="0"/>
              <a:t>Hvis du velger å ikke ha advokat, skal UDI informere deg om hva som står i brevet (vedtaket). </a:t>
            </a:r>
          </a:p>
          <a:p>
            <a:endParaRPr lang="nb-NO" dirty="0"/>
          </a:p>
          <a:p>
            <a:r>
              <a:rPr lang="nb-NO" b="1" dirty="0"/>
              <a:t>Underretting av UDIs vedtak</a:t>
            </a:r>
          </a:p>
          <a:p>
            <a:r>
              <a:rPr lang="nb-NO" dirty="0"/>
              <a:t>Advokaten skal informere deg om hva som står i brevet fra UDI (vedtaket). Samtale med advokat kan gjennomføres på telefon, digitalt eller fysisk. Advokaten skal bruke tolk hvis du trenger det. Du skal få brevet fra UDI (vedtaket) av advokaten, i posten eller i møtet. </a:t>
            </a:r>
          </a:p>
          <a:p>
            <a:endParaRPr lang="nb-NO" dirty="0"/>
          </a:p>
          <a:p>
            <a:r>
              <a:rPr lang="nb-NO" dirty="0"/>
              <a:t>Advokaten skal sette seg inn i vedtaket ditt, ha samtale med deg, gjøre juridiske vurderinger og skrive en eventuell klage. Når du klager, må du forklare hvorfor du mener svaret (vedtaket) fra UDI er feil. Advokaten hjelper deg med dette. </a:t>
            </a:r>
          </a:p>
          <a:p>
            <a:endParaRPr lang="nb-NO" dirty="0"/>
          </a:p>
          <a:p>
            <a:r>
              <a:rPr lang="nb-NO" b="0" dirty="0"/>
              <a:t>Advokaten skal gi deg informasjon om</a:t>
            </a:r>
          </a:p>
          <a:p>
            <a:pPr marL="171450" indent="-171450">
              <a:buFont typeface="Arial" panose="020B0604020202020204" pitchFamily="34" charset="0"/>
              <a:buChar char="•"/>
            </a:pPr>
            <a:r>
              <a:rPr lang="nb-NO" dirty="0"/>
              <a:t>fristen for når du må klage (klagefrist)</a:t>
            </a:r>
          </a:p>
          <a:p>
            <a:pPr marL="171450" indent="-171450">
              <a:buFont typeface="Arial" panose="020B0604020202020204" pitchFamily="34" charset="0"/>
              <a:buChar char="•"/>
            </a:pPr>
            <a:r>
              <a:rPr lang="nb-NO" dirty="0"/>
              <a:t>fristen for når du må søke om utsatt iverksettelse (utsatt iverksettelse betyr at du får bli i Norge mens klagen behandles) </a:t>
            </a:r>
          </a:p>
          <a:p>
            <a:pPr marL="171450" indent="-171450">
              <a:buFont typeface="Arial" panose="020B0604020202020204" pitchFamily="34" charset="0"/>
              <a:buChar char="•"/>
            </a:pPr>
            <a:r>
              <a:rPr lang="nb-NO" dirty="0"/>
              <a:t>fristen for når du må reise fra Norge (utreisefristen)</a:t>
            </a:r>
          </a:p>
          <a:p>
            <a:pPr marL="171450" indent="-171450">
              <a:buFont typeface="Arial" panose="020B0604020202020204" pitchFamily="34" charset="0"/>
              <a:buChar char="•"/>
            </a:pPr>
            <a:r>
              <a:rPr lang="nb-NO" dirty="0"/>
              <a:t>retur med IOM (International Organization for Migration)</a:t>
            </a:r>
          </a:p>
          <a:p>
            <a:pPr marL="171450" indent="-171450">
              <a:buFont typeface="Arial" panose="020B0604020202020204" pitchFamily="34" charset="0"/>
              <a:buChar char="•"/>
            </a:pPr>
            <a:r>
              <a:rPr lang="nb-NO" dirty="0"/>
              <a:t>konsekvensene av å ikke reise fra Norge innen utreisefristen </a:t>
            </a:r>
          </a:p>
          <a:p>
            <a:endParaRPr lang="nb-NO" dirty="0"/>
          </a:p>
          <a:p>
            <a:r>
              <a:rPr lang="nb-NO" dirty="0"/>
              <a:t>Hvis du har ny informasjon, hjelper advokaten deg med å sende den til UDI. </a:t>
            </a:r>
          </a:p>
          <a:p>
            <a:endParaRPr lang="nb-NO" dirty="0"/>
          </a:p>
          <a:p>
            <a:r>
              <a:rPr lang="nb-NO" b="1" dirty="0"/>
              <a:t>Til deg som holder presentasjonen</a:t>
            </a:r>
          </a:p>
          <a:p>
            <a:r>
              <a:rPr lang="nb-NO" dirty="0"/>
              <a:t>Hvis du får spørsmål om advokatordningen, advokathjelp i Dublinsaker, saker om rikets sikkerhet og enslige mindreårige, se UDI 2018-002 Krav til advokatene i Utlendingsdirektoratets advokatordning og UDI 2010-158 Saksgang i asylsaker. Du finner retningslinjene på https://www.udiregelverk.no/</a:t>
            </a:r>
          </a:p>
          <a:p>
            <a:endParaRPr lang="nb-NO" dirty="0"/>
          </a:p>
          <a:p>
            <a:r>
              <a:rPr lang="nb-NO" dirty="0"/>
              <a:t>For mer informasjon om utgiftsdekning, se Regelverk og rundskriv - Statens sivilrettsforvaltning</a:t>
            </a:r>
          </a:p>
          <a:p>
            <a:endParaRPr lang="nb-NO" b="1" dirty="0"/>
          </a:p>
          <a:p>
            <a:r>
              <a:rPr lang="nb-NO" b="1" dirty="0"/>
              <a:t>Forslag til metode</a:t>
            </a:r>
          </a:p>
          <a:p>
            <a:r>
              <a:rPr lang="nb-NO" dirty="0"/>
              <a:t>Del gruppen inn i mindre grupper. Be dem snakke sammen om hva som er advokatens rolle og oppgaver. Oppsummer i plenum og tilføy informasjon hvis det er behov for det. </a:t>
            </a:r>
          </a:p>
          <a:p>
            <a:endParaRPr lang="nb-NO" dirty="0"/>
          </a:p>
        </p:txBody>
      </p:sp>
    </p:spTree>
    <p:extLst>
      <p:ext uri="{BB962C8B-B14F-4D97-AF65-F5344CB8AC3E}">
        <p14:creationId xmlns:p14="http://schemas.microsoft.com/office/powerpoint/2010/main" val="326478000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a:t>
            </a:r>
          </a:p>
          <a:p>
            <a:r>
              <a:rPr lang="nb-NO" dirty="0"/>
              <a:t>Når du får avslag fra UDI, får du en frist for å reise ut av Norge (utreisefrist). Den er vanligvis tre uker. </a:t>
            </a:r>
          </a:p>
          <a:p>
            <a:r>
              <a:rPr lang="nb-NO" dirty="0"/>
              <a:t> </a:t>
            </a:r>
          </a:p>
          <a:p>
            <a:r>
              <a:rPr lang="nb-NO" dirty="0"/>
              <a:t>Du kan be UDI om å bli i Norge mens du venter på svar på klagen. Hvis du ønsker å bli i Norge mens klagen blir behandlet, må du søke om det (utsatt iverksettelse). </a:t>
            </a:r>
          </a:p>
          <a:p>
            <a:endParaRPr lang="nb-NO" dirty="0"/>
          </a:p>
          <a:p>
            <a:r>
              <a:rPr lang="nb-NO" dirty="0"/>
              <a:t>Advokaten hjelper deg med å søke om å få bli i Norge mens du venter på svar på klagen, samtidig som klagen sendes til UDI. </a:t>
            </a:r>
          </a:p>
          <a:p>
            <a:pPr marL="171450" indent="-171450">
              <a:buFont typeface="Arial" panose="020B0604020202020204" pitchFamily="34" charset="0"/>
              <a:buChar char="•"/>
            </a:pPr>
            <a:r>
              <a:rPr lang="nb-NO" dirty="0"/>
              <a:t>Hvis UDI svarer ja til dette, kan ikke politiet sende deg ut av Norge før du har fått svar. </a:t>
            </a:r>
          </a:p>
          <a:p>
            <a:pPr marL="171450" indent="-171450">
              <a:buFont typeface="Arial" panose="020B0604020202020204" pitchFamily="34" charset="0"/>
              <a:buChar char="•"/>
            </a:pPr>
            <a:r>
              <a:rPr lang="nb-NO" dirty="0"/>
              <a:t>Hvis UDI svarer nei til dette, må du reise ut av Norge innen fristen (utreisefrist). </a:t>
            </a:r>
          </a:p>
          <a:p>
            <a:pPr marL="715838" lvl="1" indent="-171450">
              <a:buFont typeface="Courier New" panose="02070309020205020404" pitchFamily="49" charset="0"/>
              <a:buChar char="o"/>
            </a:pPr>
            <a:r>
              <a:rPr lang="nb-NO" dirty="0"/>
              <a:t>Etter utreisefristen har du ikke lovlig opphold i Norge. </a:t>
            </a:r>
          </a:p>
          <a:p>
            <a:pPr marL="715838" lvl="1" indent="-171450">
              <a:buFont typeface="Courier New" panose="02070309020205020404" pitchFamily="49" charset="0"/>
              <a:buChar char="o"/>
            </a:pPr>
            <a:r>
              <a:rPr lang="nb-NO" dirty="0"/>
              <a:t>Hvis du ikke reiser frivillig innen utreisefristen, kan du bli tvangsreturnert av politiet (PU)</a:t>
            </a:r>
          </a:p>
        </p:txBody>
      </p:sp>
    </p:spTree>
    <p:extLst>
      <p:ext uri="{BB962C8B-B14F-4D97-AF65-F5344CB8AC3E}">
        <p14:creationId xmlns:p14="http://schemas.microsoft.com/office/powerpoint/2010/main" val="336649298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85000" lnSpcReduction="20000"/>
          </a:bodyPr>
          <a:lstStyle/>
          <a:p>
            <a:r>
              <a:rPr lang="nb-NO" b="1" dirty="0"/>
              <a:t>Refleksjonsoppgave</a:t>
            </a:r>
          </a:p>
          <a:p>
            <a:r>
              <a:rPr lang="nb-NO" dirty="0"/>
              <a:t>Aberra kom til Norge for snart ett år siden. En dag ringer advokaten hans og forteller at han har fått avslag på søknaden om beskyttelse. Aberra kan ikke forstå at det er sant fordi han hadde det vanskelig i hjemlandet. Familien er fattig, han hadde lite håp for framtiden, og en gang ble han arrestert og torturert av politiet. Han er redd for at det samme skal skje igjen. Hvorfor får han ikke bli?</a:t>
            </a:r>
          </a:p>
          <a:p>
            <a:endParaRPr lang="nb-NO" dirty="0"/>
          </a:p>
          <a:p>
            <a:r>
              <a:rPr lang="nb-NO" dirty="0"/>
              <a:t>Snakk om hva som kan være grunnen til at han ikke får bli.</a:t>
            </a:r>
          </a:p>
          <a:p>
            <a:endParaRPr lang="nb-NO" dirty="0"/>
          </a:p>
          <a:p>
            <a:r>
              <a:rPr lang="nb-NO" dirty="0"/>
              <a:t>Snakk om hva advokaten kan hjelpe Aberra med. </a:t>
            </a:r>
          </a:p>
          <a:p>
            <a:endParaRPr lang="nb-NO" dirty="0"/>
          </a:p>
          <a:p>
            <a:r>
              <a:rPr lang="nb-NO" b="1" dirty="0"/>
              <a:t>Forslag til metode</a:t>
            </a:r>
          </a:p>
          <a:p>
            <a:r>
              <a:rPr lang="nb-NO" dirty="0"/>
              <a:t>Del beboerne inn i små grupper, for eksempel fire personer. Hvis gruppen er trygg på hverandre kan dere snakke om oppgaven i felleskap. Oppsummering i felleskap. Styr diskusjonen til å handle om regelverket. </a:t>
            </a:r>
          </a:p>
          <a:p>
            <a:endParaRPr lang="nb-NO" dirty="0"/>
          </a:p>
          <a:p>
            <a:r>
              <a:rPr lang="nb-NO" b="1" dirty="0"/>
              <a:t>Hjelpetekst til hvorfor Aberra ikke får bli</a:t>
            </a:r>
          </a:p>
          <a:p>
            <a:r>
              <a:rPr lang="nb-NO" dirty="0"/>
              <a:t>Når UDI vurderer om noen har behov for beskyttelse, vurderes først og fremst hva som kan skje hvis den som søker må reise tilbake til hjemlandet sitt. Det gjøres en såkalt </a:t>
            </a:r>
            <a:r>
              <a:rPr lang="nb-NO" dirty="0">
                <a:solidFill>
                  <a:srgbClr val="FF0000"/>
                </a:solidFill>
              </a:rPr>
              <a:t>«fremtidsrettet vurdering». </a:t>
            </a:r>
            <a:r>
              <a:rPr lang="nb-NO" dirty="0"/>
              <a:t>Det betyr at beskyttelse blir gitt på grunn av det som kan skje og ikke på grunn av det som har skjedd.</a:t>
            </a:r>
          </a:p>
          <a:p>
            <a:endParaRPr lang="nb-NO" dirty="0"/>
          </a:p>
          <a:p>
            <a:r>
              <a:rPr lang="nb-NO" dirty="0"/>
              <a:t>Selv om søker har opplevd overgrep eller trusler i hjemlandet tidligere, kan UDI likevel vurdere at søker ikke står i fare for å bli utsatt for alvorlige overgrep eller miste livet ved hjemreise. </a:t>
            </a:r>
          </a:p>
          <a:p>
            <a:r>
              <a:rPr lang="nb-NO" dirty="0"/>
              <a:t> </a:t>
            </a:r>
          </a:p>
          <a:p>
            <a:r>
              <a:rPr lang="nb-NO" dirty="0"/>
              <a:t>Dette er tilfelle i </a:t>
            </a:r>
            <a:r>
              <a:rPr lang="nb-NO" dirty="0" err="1"/>
              <a:t>Aberras</a:t>
            </a:r>
            <a:r>
              <a:rPr lang="nb-NO" dirty="0"/>
              <a:t> sak. UDI har vurdert at han ikke risikerer overgrep, å miste livet eller annen form for forfølgelse hvis han reiser tilbake. UDI har heller ikke innvilget opphold på grunn av sterke menneskelige hensyn. For å få innvilget en slik tillatelse må søkeren for eksempel ha nær tilknytning til Norge, eller ha svært alvorlige fysiske eller psykiske sykdommer som søker ikke kan få behandling for i hjemlandet. Det er få som får en slik tillatelse. </a:t>
            </a:r>
          </a:p>
          <a:p>
            <a:endParaRPr lang="nb-NO" dirty="0"/>
          </a:p>
          <a:p>
            <a:r>
              <a:rPr lang="nb-NO" b="1" dirty="0"/>
              <a:t>Hjelpetekst til hva Aberra kan få hjelp til av advokaten </a:t>
            </a:r>
          </a:p>
          <a:p>
            <a:r>
              <a:rPr lang="nb-NO" dirty="0"/>
              <a:t>Advokaten skal sette seg inn i </a:t>
            </a:r>
            <a:r>
              <a:rPr lang="nb-NO" dirty="0" err="1"/>
              <a:t>Aberras</a:t>
            </a:r>
            <a:r>
              <a:rPr lang="nb-NO" dirty="0"/>
              <a:t> vedtaket, ha samtale med ham, gjøre juridiske vurderinger og skrive en eventuell klage. Advokaten sender klagen til UDI, og ber om at Aberra får bli i Norge til klagen er behandlet (utsatt iverksettelse). Hvis Aberra får (endelig) avslag i UNE vil advokaten informere Aberra om det.</a:t>
            </a:r>
          </a:p>
        </p:txBody>
      </p:sp>
    </p:spTree>
    <p:extLst>
      <p:ext uri="{BB962C8B-B14F-4D97-AF65-F5344CB8AC3E}">
        <p14:creationId xmlns:p14="http://schemas.microsoft.com/office/powerpoint/2010/main" val="256584072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85000" lnSpcReduction="20000"/>
          </a:bodyPr>
          <a:lstStyle/>
          <a:p>
            <a:r>
              <a:rPr lang="nb-NO" b="1" dirty="0"/>
              <a:t>Støttetekst</a:t>
            </a:r>
          </a:p>
          <a:p>
            <a:r>
              <a:rPr lang="nb-NO" dirty="0"/>
              <a:t>Hvis du klager på avslaget fra UDI, skal UDI se på saken din på nytt. Hvis UDI ikke forandrer svaret du har fått, blir saken sendt til UNE (Utlendingsnemda). UNE behandler saken din på nytt. Hvis de er enige i det UDI har bestemt, er saken din ferdig behandlet (både UDI og UNE har vurdert den). Da må du reise hjem. Du kan få hjelp fra UDI og IOM til å reise hjem.</a:t>
            </a:r>
          </a:p>
          <a:p>
            <a:endParaRPr lang="nb-NO" dirty="0"/>
          </a:p>
          <a:p>
            <a:r>
              <a:rPr lang="nb-NO" dirty="0"/>
              <a:t>Det er advokaten som skal informere deg om hva som står i brevet (vedtaket) fra UNE. </a:t>
            </a:r>
          </a:p>
          <a:p>
            <a:endParaRPr lang="nb-NO" dirty="0"/>
          </a:p>
          <a:p>
            <a:r>
              <a:rPr lang="nb-NO" b="1" dirty="0"/>
              <a:t>Utreisefrist </a:t>
            </a:r>
          </a:p>
          <a:p>
            <a:r>
              <a:rPr lang="nb-NO" dirty="0"/>
              <a:t>Hvis du får avslag får du en frist (utreisefrist) for å reise ut av Norge. Det betyr at du har plikt til å reise ut av Norge innen denne fristen.</a:t>
            </a:r>
          </a:p>
          <a:p>
            <a:r>
              <a:rPr lang="nb-NO" dirty="0"/>
              <a:t>Etter utreisefristen har du ikke lenger lovlig opphold i Norge. </a:t>
            </a:r>
          </a:p>
          <a:p>
            <a:endParaRPr lang="nb-NO" dirty="0"/>
          </a:p>
          <a:p>
            <a:r>
              <a:rPr lang="nb-NO" b="1" dirty="0"/>
              <a:t>Til deg som holder presentasjonen </a:t>
            </a:r>
          </a:p>
          <a:p>
            <a:r>
              <a:rPr lang="nb-NO" dirty="0"/>
              <a:t>Du finner mer informasjon på www.une.no.</a:t>
            </a:r>
          </a:p>
          <a:p>
            <a:endParaRPr lang="nb-NO" dirty="0"/>
          </a:p>
          <a:p>
            <a:r>
              <a:rPr lang="nb-NO" b="1" dirty="0"/>
              <a:t>Tilleggsinformasjon - Omgjøringsanmodning </a:t>
            </a:r>
          </a:p>
          <a:p>
            <a:r>
              <a:rPr lang="nb-NO" dirty="0"/>
              <a:t>Du kan be UNE om å se på saken på nytt. Det kalles omgjøringsanmodning. Omgjøringsanmodningen må være skriftlig. Du må oppgi navn, DUF-nummeret ditt og adressen din i Norge. Vanligvis må du komme med nye, viktige opplysninger eller ny dokumentasjon som kan gi et annet resultat. </a:t>
            </a:r>
            <a:r>
              <a:rPr lang="nb-NO" dirty="0">
                <a:highlight>
                  <a:srgbClr val="FFFF00"/>
                </a:highlight>
              </a:rPr>
              <a:t>Ventetiden for omgjøringsanmodning varierer mer enn for klagesaker.</a:t>
            </a:r>
          </a:p>
          <a:p>
            <a:endParaRPr lang="nb-NO" dirty="0"/>
          </a:p>
          <a:p>
            <a:r>
              <a:rPr lang="nb-NO" dirty="0"/>
              <a:t>Hvis du sender omgjøringsanmodning får du ikke automatisk rett til å være i Norge mens UNE behandler den. Du kan søke om utsatt iverksettelse i mens du venter på svar. </a:t>
            </a:r>
          </a:p>
          <a:p>
            <a:endParaRPr lang="nb-NO" b="1" dirty="0"/>
          </a:p>
          <a:p>
            <a:r>
              <a:rPr lang="nb-NO" dirty="0"/>
              <a:t>Du kan saksøke UNE. Du bør ikke gjøre det uten at en advokat eller juridisk rådgiver anbefaler det. Å saksøke UNE betyr å gå til rettssak for å få </a:t>
            </a:r>
            <a:r>
              <a:rPr lang="nb-NO" dirty="0" err="1"/>
              <a:t>UNEs</a:t>
            </a:r>
            <a:r>
              <a:rPr lang="nb-NO" dirty="0"/>
              <a:t> vedtak dømt ugyldig i en domstol. Det betyr ikke at du får opphold, men at saken skal behandles på nytt. Hvis du taper en slik sak, kan du bli pålagt å betale </a:t>
            </a:r>
            <a:r>
              <a:rPr lang="nb-NO" dirty="0" err="1"/>
              <a:t>UNEs</a:t>
            </a:r>
            <a:r>
              <a:rPr lang="nb-NO" dirty="0"/>
              <a:t> kostnader.</a:t>
            </a:r>
          </a:p>
          <a:p>
            <a:endParaRPr lang="nb-NO" dirty="0"/>
          </a:p>
          <a:p>
            <a:r>
              <a:rPr lang="nb-NO" b="1" dirty="0"/>
              <a:t>Forslag til metode </a:t>
            </a:r>
          </a:p>
          <a:p>
            <a:r>
              <a:rPr lang="nb-NO" dirty="0"/>
              <a:t>Vis statistikk fra UNE, du finner det her: https://www.une.no/statistikk/asylsaker/</a:t>
            </a:r>
          </a:p>
          <a:p>
            <a:r>
              <a:rPr lang="nb-NO" dirty="0"/>
              <a:t>Presiser at vedtaket fra UNE er endelig og at de ikke kan klage igjen.</a:t>
            </a:r>
          </a:p>
        </p:txBody>
      </p:sp>
    </p:spTree>
    <p:extLst>
      <p:ext uri="{BB962C8B-B14F-4D97-AF65-F5344CB8AC3E}">
        <p14:creationId xmlns:p14="http://schemas.microsoft.com/office/powerpoint/2010/main" val="358119405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lnSpcReduction="10000"/>
          </a:bodyPr>
          <a:lstStyle/>
          <a:p>
            <a:r>
              <a:rPr lang="nb-NO" b="1" dirty="0"/>
              <a:t>Støttetekst </a:t>
            </a:r>
            <a:r>
              <a:rPr lang="nb-NO" dirty="0"/>
              <a:t> </a:t>
            </a:r>
          </a:p>
          <a:p>
            <a:r>
              <a:rPr lang="nb-NO" dirty="0"/>
              <a:t>Du skal ha samtaler med oss på mottaket om retur. Den første etter at UDI har behandlet saken din, og den andre etter at UNE har behandlet saken din. Før samtalen skal advokaten ha gitt deg informasjon om at du ikke får bli i Norge (avslaget). Noen ganger vil det være flere samtaler om retur.</a:t>
            </a:r>
          </a:p>
          <a:p>
            <a:endParaRPr lang="nb-NO" dirty="0"/>
          </a:p>
          <a:p>
            <a:r>
              <a:rPr lang="nb-NO" dirty="0"/>
              <a:t>I samtalene skal vi snakke om konsekvensene av at du ikke får bli (avslaget). </a:t>
            </a:r>
          </a:p>
          <a:p>
            <a:r>
              <a:rPr lang="nb-NO" dirty="0"/>
              <a:t>For deg betyr dette at du får</a:t>
            </a:r>
          </a:p>
          <a:p>
            <a:pPr marL="171450" indent="-171450">
              <a:buFont typeface="Arial" panose="020B0604020202020204" pitchFamily="34" charset="0"/>
              <a:buChar char="•"/>
            </a:pPr>
            <a:r>
              <a:rPr lang="nb-NO" dirty="0"/>
              <a:t>utreiseplikt -  reise hjem på egenhånd, assistert retur (IOM) eller tvangsretur (politiet)</a:t>
            </a:r>
          </a:p>
          <a:p>
            <a:pPr marL="171450" indent="-171450">
              <a:buFont typeface="Arial" panose="020B0604020202020204" pitchFamily="34" charset="0"/>
              <a:buChar char="•"/>
            </a:pPr>
            <a:r>
              <a:rPr lang="nb-NO" dirty="0"/>
              <a:t>tap av rettigheter (helse, skole, arbeid m.m.) </a:t>
            </a:r>
          </a:p>
          <a:p>
            <a:pPr marL="171450" indent="-171450">
              <a:buFont typeface="Arial" panose="020B0604020202020204" pitchFamily="34" charset="0"/>
              <a:buChar char="•"/>
            </a:pPr>
            <a:r>
              <a:rPr lang="nb-NO" dirty="0"/>
              <a:t>mindre penger (trekk i basis)</a:t>
            </a:r>
          </a:p>
          <a:p>
            <a:endParaRPr lang="nb-NO" dirty="0"/>
          </a:p>
          <a:p>
            <a:r>
              <a:rPr lang="nb-NO" dirty="0"/>
              <a:t>Det er viktig at du forstår hva som står i brevene fra UDI og UNE (avslagene), og hva det betyr for deg. </a:t>
            </a:r>
          </a:p>
          <a:p>
            <a:r>
              <a:rPr lang="nb-NO" dirty="0"/>
              <a:t>Vi på mottaket får beskjed om at du ikke får bli (har fått avslag), men vi vet ikke hvorfor. Alt i saken din er mellom deg og Utlendingsmyndighetene (UDI, UNE, politiet).</a:t>
            </a:r>
          </a:p>
          <a:p>
            <a:endParaRPr lang="nb-NO" dirty="0"/>
          </a:p>
          <a:p>
            <a:r>
              <a:rPr lang="nb-NO" b="1" dirty="0"/>
              <a:t>Til deg som holder presentasjonen</a:t>
            </a:r>
          </a:p>
          <a:p>
            <a:r>
              <a:rPr lang="nb-NO" dirty="0"/>
              <a:t>Mottaket får oppgave i MOT om å gjennomføre retursamtale. Mottaket skal innkalle beboere til individuell retursamtale. Det gjelder</a:t>
            </a:r>
          </a:p>
          <a:p>
            <a:pPr marL="171450" indent="-171450">
              <a:buFont typeface="Arial" panose="020B0604020202020204" pitchFamily="34" charset="0"/>
              <a:buChar char="•"/>
            </a:pPr>
            <a:r>
              <a:rPr lang="nb-NO" dirty="0"/>
              <a:t>alle over 18 år</a:t>
            </a:r>
          </a:p>
          <a:p>
            <a:pPr marL="171450" indent="-171450">
              <a:buFont typeface="Arial" panose="020B0604020202020204" pitchFamily="34" charset="0"/>
              <a:buChar char="•"/>
            </a:pPr>
            <a:r>
              <a:rPr lang="nb-NO" dirty="0"/>
              <a:t>enslige mindreårige</a:t>
            </a:r>
          </a:p>
          <a:p>
            <a:pPr marL="171450" indent="-171450">
              <a:buFont typeface="Arial" panose="020B0604020202020204" pitchFamily="34" charset="0"/>
              <a:buChar char="•"/>
            </a:pPr>
            <a:r>
              <a:rPr lang="nb-NO" dirty="0"/>
              <a:t>enslige mindreårige som har fått tidsbegrenset tillatelse fram til fylte 18 år</a:t>
            </a:r>
          </a:p>
          <a:p>
            <a:endParaRPr lang="nb-NO" dirty="0"/>
          </a:p>
          <a:p>
            <a:endParaRPr lang="nb-NO" dirty="0"/>
          </a:p>
        </p:txBody>
      </p:sp>
    </p:spTree>
    <p:extLst>
      <p:ext uri="{BB962C8B-B14F-4D97-AF65-F5344CB8AC3E}">
        <p14:creationId xmlns:p14="http://schemas.microsoft.com/office/powerpoint/2010/main" val="223999138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 </a:t>
            </a:r>
          </a:p>
          <a:p>
            <a:r>
              <a:rPr lang="nb-NO" dirty="0"/>
              <a:t>Mange barn ønsker informasjon om hva det betyr å ikke få bli i Norge (avslag). I FNs barnekonvensjon art.12 står det at barn har rett til å si sin mening og bli hørt. For at barn skal ha mulighet til det, må foreldre snakke med barna sine om at dere ikke får bli i Norge. Det er lett å tenke at barna beskyttes når det ikke snakkes om det som er vanskelig. Samtidig får barn ofte med seg mer enn voksne tror og kan feiltolke eller ta på seg skyld for det som har skjedd. Erfaring viser at det ofte er verre for barna å ikke bli involvert. </a:t>
            </a:r>
          </a:p>
          <a:p>
            <a:endParaRPr lang="nb-NO" dirty="0"/>
          </a:p>
          <a:p>
            <a:r>
              <a:rPr lang="nb-NO" dirty="0"/>
              <a:t>Hvis dere synes det er vanskelig å snakke med barna deres om at dere ikke får bli i Norge (avslag), kan vi på mottaket hjelpe dere. </a:t>
            </a:r>
          </a:p>
          <a:p>
            <a:endParaRPr lang="nb-NO" dirty="0"/>
          </a:p>
          <a:p>
            <a:r>
              <a:rPr lang="nb-NO" b="1" dirty="0"/>
              <a:t>Asylbarn.no.​</a:t>
            </a:r>
          </a:p>
          <a:p>
            <a:r>
              <a:rPr lang="nb-NO" dirty="0"/>
              <a:t>Du kan lese om retur sammen med barna på Asylbarn.no. Informasjonen er skrevet for at barn skal forstå, og er på flere språk. Du finner også filmer på nettsiden. </a:t>
            </a:r>
          </a:p>
          <a:p>
            <a:endParaRPr lang="nb-NO" dirty="0"/>
          </a:p>
          <a:p>
            <a:r>
              <a:rPr lang="nb-NO" b="1" dirty="0"/>
              <a:t>Forslag til metode</a:t>
            </a:r>
          </a:p>
          <a:p>
            <a:r>
              <a:rPr lang="nb-NO" dirty="0"/>
              <a:t>Vis nettsiden www.asylbarn.no</a:t>
            </a:r>
          </a:p>
        </p:txBody>
      </p:sp>
    </p:spTree>
    <p:extLst>
      <p:ext uri="{BB962C8B-B14F-4D97-AF65-F5344CB8AC3E}">
        <p14:creationId xmlns:p14="http://schemas.microsoft.com/office/powerpoint/2010/main" val="37508401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55000" lnSpcReduction="20000"/>
          </a:bodyPr>
          <a:lstStyle/>
          <a:p>
            <a:r>
              <a:rPr lang="nb-NO" b="1" dirty="0"/>
              <a:t>Støttetekst </a:t>
            </a:r>
          </a:p>
          <a:p>
            <a:r>
              <a:rPr lang="nb-NO" dirty="0"/>
              <a:t>Hvis du får avslag på søknaden må du reise hjem. Du får en utreisefrist. Du må reise ut av Norge innen fristen du har fått.</a:t>
            </a:r>
          </a:p>
          <a:p>
            <a:endParaRPr lang="nb-NO" dirty="0"/>
          </a:p>
          <a:p>
            <a:r>
              <a:rPr lang="nb-NO" dirty="0"/>
              <a:t>Det er flere måter du kan reise hjem på: </a:t>
            </a:r>
          </a:p>
          <a:p>
            <a:endParaRPr lang="nb-NO" dirty="0"/>
          </a:p>
          <a:p>
            <a:r>
              <a:rPr lang="nb-NO" b="1" dirty="0"/>
              <a:t>På egen hånd</a:t>
            </a:r>
          </a:p>
          <a:p>
            <a:r>
              <a:rPr lang="nb-NO" dirty="0"/>
              <a:t>Du kan reise hjem på egen hånd. Det betyr at du organiserer og betaler reisen selv.</a:t>
            </a:r>
          </a:p>
          <a:p>
            <a:endParaRPr lang="nb-NO" dirty="0"/>
          </a:p>
          <a:p>
            <a:r>
              <a:rPr lang="nb-NO" b="1" dirty="0"/>
              <a:t>Assistert retur </a:t>
            </a:r>
          </a:p>
          <a:p>
            <a:r>
              <a:rPr lang="nb-NO" dirty="0"/>
              <a:t>Du kan søke om hjelp til å reise tilbake til hjemlandet eller landet du har oppholdstillatelse i. Det kalles assistert retur. Du kan få​</a:t>
            </a:r>
          </a:p>
          <a:p>
            <a:pPr marL="171450" indent="-171450">
              <a:buFont typeface="Arial" panose="020B0604020202020204" pitchFamily="34" charset="0"/>
              <a:buChar char="•"/>
            </a:pPr>
            <a:r>
              <a:rPr lang="nb-NO" dirty="0"/>
              <a:t>​økonomisk og praktisk støtte (returprogram til noen land) ​</a:t>
            </a:r>
          </a:p>
          <a:p>
            <a:pPr marL="171450" indent="-171450">
              <a:buFont typeface="Arial" panose="020B0604020202020204" pitchFamily="34" charset="0"/>
              <a:buChar char="•"/>
            </a:pPr>
            <a:r>
              <a:rPr lang="nb-NO" dirty="0"/>
              <a:t>hjelp til å skaffe pass og reisedokumenter ​</a:t>
            </a:r>
          </a:p>
          <a:p>
            <a:pPr marL="171450" indent="-171450">
              <a:buFont typeface="Arial" panose="020B0604020202020204" pitchFamily="34" charset="0"/>
              <a:buChar char="•"/>
            </a:pPr>
            <a:r>
              <a:rPr lang="nb-NO" dirty="0"/>
              <a:t>flybillett  ​</a:t>
            </a:r>
          </a:p>
          <a:p>
            <a:pPr marL="171450" indent="-171450">
              <a:buFont typeface="Arial" panose="020B0604020202020204" pitchFamily="34" charset="0"/>
              <a:buChar char="•"/>
            </a:pPr>
            <a:r>
              <a:rPr lang="nb-NO" dirty="0"/>
              <a:t>rådgivning fra IOM i Norge</a:t>
            </a:r>
          </a:p>
          <a:p>
            <a:endParaRPr lang="nb-NO" dirty="0"/>
          </a:p>
          <a:p>
            <a:r>
              <a:rPr lang="nb-NO" dirty="0"/>
              <a:t>Hvis du søker assistert retur før utreisefrist, vil du få mer økonomisk støtte enn om du søker etter fristen. </a:t>
            </a:r>
          </a:p>
          <a:p>
            <a:r>
              <a:rPr lang="nb-NO" dirty="0"/>
              <a:t>Velger du assistert retur kan du være med å planlegge hjemreisen. Du får tid til å ta kontakt med familie/venner hjemme. Både voksne og barn får tid til å ta farvel med venner og skole i Norge.</a:t>
            </a:r>
          </a:p>
          <a:p>
            <a:endParaRPr lang="nb-NO" dirty="0"/>
          </a:p>
          <a:p>
            <a:r>
              <a:rPr lang="nb-NO" dirty="0"/>
              <a:t>Hvis du har behov for ekstra hjelp i forbindelse med reisen hjem kan IOM hjelpe deg med det. Hvis du trenger det kan du også få hjelp i hjemlandet ditt. Det kan for eksempel være hjelp til medisiner, bolig eller andre ting du trenger for å klare deg.</a:t>
            </a:r>
          </a:p>
          <a:p>
            <a:endParaRPr lang="nb-NO" dirty="0"/>
          </a:p>
          <a:p>
            <a:r>
              <a:rPr lang="nb-NO" dirty="0"/>
              <a:t>Les mer om assistert retur på www.iom.no, eller ring 23 10 53 20. IOM har ansatte som snakker flere språk. Du kan når som helst kontakte IOM direkte for informasjon om retur. IOM kan gi informasjon og forklare returprosessen. IOM er ikke en del av norske myndigheter.</a:t>
            </a:r>
          </a:p>
          <a:p>
            <a:endParaRPr lang="nb-NO" dirty="0"/>
          </a:p>
          <a:p>
            <a:r>
              <a:rPr lang="nb-NO" dirty="0"/>
              <a:t>Det er returprogram til noen land. Det betyr at du i tillegg til fly hjem, kan få ekstra økonomisk støtte, og hjelp til å etablere deg i hjemlandet ditt.</a:t>
            </a:r>
          </a:p>
          <a:p>
            <a:endParaRPr lang="nb-NO" dirty="0"/>
          </a:p>
          <a:p>
            <a:r>
              <a:rPr lang="nb-NO" dirty="0"/>
              <a:t>Du finner mer informasjon om returprogram på www.iom.no og www.udi.no/retur. </a:t>
            </a:r>
          </a:p>
          <a:p>
            <a:endParaRPr lang="nb-NO" dirty="0"/>
          </a:p>
          <a:p>
            <a:r>
              <a:rPr lang="nb-NO" b="1" dirty="0"/>
              <a:t>Tvangsretur (uttransportert)</a:t>
            </a:r>
          </a:p>
          <a:p>
            <a:r>
              <a:rPr lang="nb-NO" dirty="0"/>
              <a:t>I brevet fra UDI/UNE står det en frist for når du må reise fra Norge (utreisefrist). Hvis du ikke reiser innen fristen, er du ulovlig i Norge og kan bli utvist. Hvis du blir utvist, kan du ikke reise tilbake, enten for en periode eller for alltid. Det gjelder også for de andre Schengen-landene. </a:t>
            </a:r>
          </a:p>
          <a:p>
            <a:endParaRPr lang="nb-NO" dirty="0"/>
          </a:p>
          <a:p>
            <a:r>
              <a:rPr lang="nb-NO" dirty="0"/>
              <a:t>Hvis du ikke reiser innen fristen kan du bli hentet av politiet og sendt tilbake til hjemlandet ditt. Det kalles tvangsretur. Hvis du blir tvangsreturnert tar politiet deg med til flyplassen eller til et sted hvor du må være til flyet skal gå. Familier med barn får være et sted som passer for familier. Noen ganger følger politiet hele veien til hjemlandet, andre ganger følger de deg inn på flyet, og så flyr du alene.</a:t>
            </a:r>
          </a:p>
          <a:p>
            <a:endParaRPr lang="nb-NO" dirty="0"/>
          </a:p>
          <a:p>
            <a:r>
              <a:rPr lang="nb-NO" dirty="0"/>
              <a:t>Hvis du blir tvangsreturnert, får du gjeld til norske myndigheter. Gjelden er kostnadene for reisen for deg og for de som følger deg hjem. Du får ingen økonomisk støtte når du blir tvangsreturnert.</a:t>
            </a:r>
          </a:p>
          <a:p>
            <a:endParaRPr lang="nb-NO" dirty="0"/>
          </a:p>
          <a:p>
            <a:r>
              <a:rPr lang="nb-NO" b="1" dirty="0"/>
              <a:t>Snakk med oss på mottaket</a:t>
            </a:r>
          </a:p>
          <a:p>
            <a:r>
              <a:rPr lang="nb-NO" dirty="0"/>
              <a:t>Hvis du ønsker å vite mer om retur kan du snakke med oss på mottaket.</a:t>
            </a:r>
          </a:p>
          <a:p>
            <a:endParaRPr lang="nb-NO" dirty="0"/>
          </a:p>
          <a:p>
            <a:r>
              <a:rPr lang="nb-NO" b="1" dirty="0"/>
              <a:t>Til deg som holder presentasjonen </a:t>
            </a:r>
          </a:p>
          <a:p>
            <a:r>
              <a:rPr lang="nb-NO" dirty="0"/>
              <a:t>Tvangsretur – økonomisk støtte gis til enkelte nasjonaliteter. For oppdatert informasjon se www.udi.no eller kontakt </a:t>
            </a:r>
            <a:r>
              <a:rPr lang="nb-NO" dirty="0" err="1"/>
              <a:t>Returenheten</a:t>
            </a:r>
            <a:r>
              <a:rPr lang="nb-NO" dirty="0"/>
              <a:t> i UDI på e-post varp@udi.no, eller ring 40 43 61 96.</a:t>
            </a:r>
          </a:p>
          <a:p>
            <a:endParaRPr lang="nb-NO" dirty="0"/>
          </a:p>
          <a:p>
            <a:r>
              <a:rPr lang="nb-NO" b="1" dirty="0"/>
              <a:t>Forslag til metode</a:t>
            </a:r>
          </a:p>
          <a:p>
            <a:pPr marL="171450" indent="-171450">
              <a:buFont typeface="Arial" panose="020B0604020202020204" pitchFamily="34" charset="0"/>
              <a:buChar char="•"/>
            </a:pPr>
            <a:r>
              <a:rPr lang="nb-NO" dirty="0"/>
              <a:t>Vis informasjonsfilm fra NOAS om alternativer etter avslag. Den er oversatt til flere språk. Du finner den på www.noas.no</a:t>
            </a:r>
          </a:p>
          <a:p>
            <a:pPr marL="171450" indent="-171450">
              <a:buFont typeface="Arial" panose="020B0604020202020204" pitchFamily="34" charset="0"/>
              <a:buChar char="•"/>
            </a:pPr>
            <a:r>
              <a:rPr lang="nb-NO" dirty="0"/>
              <a:t>Vis film om retur med barn. Både assistert retur og tvangsretur. Du finner filmene på asylbarn.no </a:t>
            </a:r>
          </a:p>
          <a:p>
            <a:pPr marL="171450" indent="-171450">
              <a:buFont typeface="Arial" panose="020B0604020202020204" pitchFamily="34" charset="0"/>
              <a:buChar char="•"/>
            </a:pPr>
            <a:r>
              <a:rPr lang="nb-NO" dirty="0"/>
              <a:t>Del ut brosjyre om assistert retur med IOM. Du finner den på www.iom.no</a:t>
            </a:r>
          </a:p>
          <a:p>
            <a:pPr marL="171450" indent="-171450">
              <a:buFont typeface="Arial" panose="020B0604020202020204" pitchFamily="34" charset="0"/>
              <a:buChar char="•"/>
            </a:pPr>
            <a:r>
              <a:rPr lang="nb-NO" dirty="0"/>
              <a:t>Vis kart over Schengen-landene</a:t>
            </a:r>
          </a:p>
          <a:p>
            <a:endParaRPr lang="nb-NO" dirty="0"/>
          </a:p>
        </p:txBody>
      </p:sp>
    </p:spTree>
    <p:extLst>
      <p:ext uri="{BB962C8B-B14F-4D97-AF65-F5344CB8AC3E}">
        <p14:creationId xmlns:p14="http://schemas.microsoft.com/office/powerpoint/2010/main" val="189680693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92500"/>
          </a:bodyPr>
          <a:lstStyle/>
          <a:p>
            <a:r>
              <a:rPr lang="nb-NO" b="1" dirty="0"/>
              <a:t>Støttetekst</a:t>
            </a:r>
          </a:p>
          <a:p>
            <a:r>
              <a:rPr lang="nb-NO" dirty="0"/>
              <a:t>Hvis du ikke reiser innen fristen (utreisefristen) som står i brevet fra UDI og UNE, er du ulovlig i Norge. Hvis du er ulovlig i Norge kan du bli tvangsreturnert (uttransportert). </a:t>
            </a:r>
          </a:p>
          <a:p>
            <a:endParaRPr lang="nb-NO" dirty="0"/>
          </a:p>
          <a:p>
            <a:r>
              <a:rPr lang="nb-NO" b="1" dirty="0"/>
              <a:t>Hvis du er ulovlig i Norge </a:t>
            </a:r>
          </a:p>
          <a:p>
            <a:r>
              <a:rPr lang="nb-NO" dirty="0"/>
              <a:t>Hvis du er ulovlig i Norge får du begrensede rettigheter:</a:t>
            </a:r>
          </a:p>
          <a:p>
            <a:pPr marL="171450" indent="-171450">
              <a:buFont typeface="Arial" panose="020B0604020202020204" pitchFamily="34" charset="0"/>
              <a:buChar char="•"/>
            </a:pPr>
            <a:r>
              <a:rPr lang="nb-NO" dirty="0"/>
              <a:t>Du får mindre penger på mottaket</a:t>
            </a:r>
          </a:p>
          <a:p>
            <a:pPr marL="171450" indent="-171450">
              <a:buFont typeface="Arial" panose="020B0604020202020204" pitchFamily="34" charset="0"/>
              <a:buChar char="•"/>
            </a:pPr>
            <a:r>
              <a:rPr lang="nb-NO" dirty="0"/>
              <a:t>Du har bare rett til øyeblikkelig hjelp og helsehjelp som er helt nødvendig, og ikke kan vente. Du må betale for helsehjelpen selv. Du har ikke rett til fastlege. </a:t>
            </a:r>
          </a:p>
          <a:p>
            <a:pPr marL="715838" lvl="1" indent="-171450">
              <a:buFont typeface="Courier New" panose="02070309020205020404" pitchFamily="49" charset="0"/>
              <a:buChar char="o"/>
            </a:pPr>
            <a:r>
              <a:rPr lang="nb-NO" dirty="0"/>
              <a:t>Barn uten lovlig opphold har rett til helsehjelp, men ikke fastlege. </a:t>
            </a:r>
          </a:p>
          <a:p>
            <a:pPr marL="171450" lvl="0" indent="-171450">
              <a:buFont typeface="Arial" panose="020B0604020202020204" pitchFamily="34" charset="0"/>
              <a:buChar char="•"/>
            </a:pPr>
            <a:r>
              <a:rPr lang="nb-NO" dirty="0"/>
              <a:t>Du har ikke lov til å jobbe.</a:t>
            </a:r>
          </a:p>
          <a:p>
            <a:pPr marL="171450" lvl="0" indent="-171450">
              <a:buFont typeface="Arial" panose="020B0604020202020204" pitchFamily="34" charset="0"/>
              <a:buChar char="•"/>
            </a:pPr>
            <a:r>
              <a:rPr lang="nb-NO" dirty="0"/>
              <a:t>Hvis du er over 16 år mister du retten til å gå på skole.</a:t>
            </a:r>
          </a:p>
          <a:p>
            <a:endParaRPr lang="nb-NO" dirty="0"/>
          </a:p>
          <a:p>
            <a:r>
              <a:rPr lang="nb-NO" b="1" dirty="0"/>
              <a:t>Til deg som holder presentasjonen </a:t>
            </a:r>
          </a:p>
          <a:p>
            <a:r>
              <a:rPr lang="nb-NO" dirty="0"/>
              <a:t>Se mer informasjon om</a:t>
            </a:r>
          </a:p>
          <a:p>
            <a:pPr marL="171450" indent="-171450">
              <a:buFont typeface="Arial" panose="020B0604020202020204" pitchFamily="34" charset="0"/>
              <a:buChar char="•"/>
            </a:pPr>
            <a:r>
              <a:rPr lang="nb-NO" dirty="0"/>
              <a:t>helsehjelp på www.helsenorge.no </a:t>
            </a:r>
          </a:p>
          <a:p>
            <a:pPr marL="171450" indent="-171450">
              <a:buFont typeface="Arial" panose="020B0604020202020204" pitchFamily="34" charset="0"/>
              <a:buChar char="•"/>
            </a:pPr>
            <a:r>
              <a:rPr lang="nb-NO" dirty="0"/>
              <a:t>ytelser til beboere i asylmottak UDI 2008-035 Retningslinjer om ytelser til beboere i asylmottak på www.udiregelverk.no. </a:t>
            </a:r>
          </a:p>
          <a:p>
            <a:pPr marL="171450" indent="-171450">
              <a:buFont typeface="Arial" panose="020B0604020202020204" pitchFamily="34" charset="0"/>
              <a:buChar char="•"/>
            </a:pPr>
            <a:r>
              <a:rPr lang="nb-NO" dirty="0"/>
              <a:t>styringsdokumenter og veiledere for asylmottak https://www.udi.no/asylmottak/onsker-a-drive-mottak/styringsdokumenter-og-veiledere-for-asylmottak/</a:t>
            </a:r>
          </a:p>
          <a:p>
            <a:pPr marL="171450" indent="-171450">
              <a:buFont typeface="Arial" panose="020B0604020202020204" pitchFamily="34" charset="0"/>
              <a:buChar char="•"/>
            </a:pPr>
            <a:r>
              <a:rPr lang="nb-NO" dirty="0"/>
              <a:t>arbeidstillatelse UDI 2010-180 Rett til å ta arbeid for asylsøkere på www.udiregelverk.no</a:t>
            </a:r>
          </a:p>
          <a:p>
            <a:pPr marL="171450" indent="-171450">
              <a:buFont typeface="Arial" panose="020B0604020202020204" pitchFamily="34" charset="0"/>
              <a:buChar char="•"/>
            </a:pPr>
            <a:r>
              <a:rPr lang="nb-NO" dirty="0"/>
              <a:t>rett til videregående opplæring etter avslag på søknad om beskyttelse på  Utdanningsdirektoratet sine nettsider https://www.udir.no/laring-og-trivsel/minoritetsspraklige/regleverk-som-gjelder-spesielt-for-minoritetsspraklige/skole/16-24-ar/</a:t>
            </a:r>
          </a:p>
        </p:txBody>
      </p:sp>
    </p:spTree>
    <p:extLst>
      <p:ext uri="{BB962C8B-B14F-4D97-AF65-F5344CB8AC3E}">
        <p14:creationId xmlns:p14="http://schemas.microsoft.com/office/powerpoint/2010/main" val="29928223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85000" lnSpcReduction="10000"/>
          </a:bodyPr>
          <a:lstStyle/>
          <a:p>
            <a:r>
              <a:rPr lang="nb-NO" b="1" dirty="0"/>
              <a:t>Støttetekst</a:t>
            </a:r>
          </a:p>
          <a:p>
            <a:r>
              <a:rPr lang="nb-NO" dirty="0"/>
              <a:t>Hvis du søker om beskyttelse sammen med barn under 18 år, blir barnet også registret som asylsøker. </a:t>
            </a:r>
          </a:p>
          <a:p>
            <a:endParaRPr lang="nb-NO" dirty="0"/>
          </a:p>
          <a:p>
            <a:r>
              <a:rPr lang="nb-NO" dirty="0"/>
              <a:t>Barn får tilbud om en samtale med UDI (alle barn får tilbud om samtale med UDI under samtalen med NOAS). </a:t>
            </a:r>
          </a:p>
          <a:p>
            <a:r>
              <a:rPr lang="nb-NO" dirty="0"/>
              <a:t>UDI vurderer om barnet har et eget behov for beskyttelse eller rett til å bli i Norge av andre grunner. Alle barn får eget svar på søknaden sin (vedtak). Når UDI gjør vurderinger som omfatter barn, skal barnets beste være en del av vurderingen.</a:t>
            </a:r>
          </a:p>
          <a:p>
            <a:endParaRPr lang="nb-NO" dirty="0"/>
          </a:p>
          <a:p>
            <a:r>
              <a:rPr lang="nb-NO" dirty="0"/>
              <a:t>Barn har rett til informasjon. I FNs barnekonvensjon art.12 står det at barn har rett til å si sin mening og bli hørt. Snakk med barna om asylsøknaden deres. </a:t>
            </a:r>
          </a:p>
          <a:p>
            <a:r>
              <a:rPr lang="nb-NO" dirty="0"/>
              <a:t>Forbered hele familien på at søknaden kan få to ulike svar; at dere kan få bli eller at dere må reise hjem. </a:t>
            </a:r>
          </a:p>
          <a:p>
            <a:endParaRPr lang="nb-NO" dirty="0"/>
          </a:p>
          <a:p>
            <a:r>
              <a:rPr lang="nb-NO" dirty="0"/>
              <a:t>Det er laget en nettside for barn med informasjon om asylprosessen, og hva som skjer hvis du får bli (positivt svar) eller hvis du må reise hjem (negativt svar), se Asylbarn.no. Informasjonen er på flere språk. Du finner også flere filmer på nettsiden.  </a:t>
            </a:r>
          </a:p>
          <a:p>
            <a:endParaRPr lang="nb-NO" dirty="0"/>
          </a:p>
          <a:p>
            <a:r>
              <a:rPr lang="nb-NO" b="1" dirty="0"/>
              <a:t>Til deg som holder presentasjonen </a:t>
            </a:r>
          </a:p>
          <a:p>
            <a:r>
              <a:rPr lang="nb-NO" dirty="0"/>
              <a:t>Les mer om aldersgrenser i retningslinje UDI 2010-075 Høring av medfølgende barn i saker om beskyttelse. Du finner retningslinjen her: https://www.udiregelverk.no/rettskilder/udi-retningslinjer/udi-2010-075/</a:t>
            </a:r>
          </a:p>
          <a:p>
            <a:endParaRPr lang="nb-NO" dirty="0"/>
          </a:p>
          <a:p>
            <a:r>
              <a:rPr lang="nb-NO" b="1" dirty="0"/>
              <a:t>Her er litt fra retningslinjen</a:t>
            </a:r>
            <a:r>
              <a:rPr lang="nb-NO" dirty="0"/>
              <a:t>:</a:t>
            </a:r>
          </a:p>
          <a:p>
            <a:pPr marL="171450" indent="-171450">
              <a:buFont typeface="Arial" panose="020B0604020202020204" pitchFamily="34" charset="0"/>
              <a:buChar char="•"/>
            </a:pPr>
            <a:r>
              <a:rPr lang="nb-NO" dirty="0"/>
              <a:t>Barn som er fylt sju år, og yngre barn som er i stand til å danne seg egne synspunkter, skal informeres og gis anledning til å bli hørt før det treffes avgjørelse i sak som angår dem, se utlendingsforskriften § 17-3. </a:t>
            </a:r>
          </a:p>
          <a:p>
            <a:pPr marL="171450" indent="-171450">
              <a:buFont typeface="Arial" panose="020B0604020202020204" pitchFamily="34" charset="0"/>
              <a:buChar char="•"/>
            </a:pPr>
            <a:r>
              <a:rPr lang="nb-NO" dirty="0"/>
              <a:t>At barnet skal være i stand til å danne seg egne synspunkter betyr at det må ha nådd en modenhetsgrad som gjør at det har evnen til å mene noe som har betydning for saken. Modenhetsgrensen er en skjønnsmessig regel som retter seg mot barn under sju år. </a:t>
            </a:r>
          </a:p>
          <a:p>
            <a:pPr marL="171450" indent="-171450">
              <a:buFont typeface="Arial" panose="020B0604020202020204" pitchFamily="34" charset="0"/>
              <a:buChar char="•"/>
            </a:pPr>
            <a:r>
              <a:rPr lang="nb-NO" dirty="0"/>
              <a:t>Barn fra sju år skal ha anledning til å uttale seg uansett. Hvor modent barnet er, vil ha betydning for hvor stor vekt uttalelsen tillegges.</a:t>
            </a:r>
          </a:p>
          <a:p>
            <a:pPr marL="171450" indent="-171450">
              <a:buFont typeface="Arial" panose="020B0604020202020204" pitchFamily="34" charset="0"/>
              <a:buChar char="•"/>
            </a:pPr>
            <a:r>
              <a:rPr lang="nb-NO" dirty="0"/>
              <a:t>Medfølgende barn skal få tilbud om samtale i alle saker som blir realitetsbehandlet.</a:t>
            </a:r>
          </a:p>
          <a:p>
            <a:endParaRPr lang="nb-NO" dirty="0"/>
          </a:p>
        </p:txBody>
      </p:sp>
    </p:spTree>
    <p:extLst>
      <p:ext uri="{BB962C8B-B14F-4D97-AF65-F5344CB8AC3E}">
        <p14:creationId xmlns:p14="http://schemas.microsoft.com/office/powerpoint/2010/main" val="240226428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Refleksjonsoppgave </a:t>
            </a:r>
          </a:p>
          <a:p>
            <a:pPr marL="171450" indent="-171450">
              <a:buFont typeface="Arial" panose="020B0604020202020204" pitchFamily="34" charset="0"/>
              <a:buChar char="•"/>
            </a:pPr>
            <a:r>
              <a:rPr lang="nb-NO" dirty="0"/>
              <a:t>Hvorfor er det viktig å søke assistert retur før fristen du har fått for å reise ut av Norge (utreisefristen)?</a:t>
            </a:r>
          </a:p>
          <a:p>
            <a:pPr marL="171450" indent="-171450">
              <a:buFont typeface="Arial" panose="020B0604020202020204" pitchFamily="34" charset="0"/>
              <a:buChar char="•"/>
            </a:pPr>
            <a:r>
              <a:rPr lang="nb-NO" dirty="0"/>
              <a:t>Hva er forskjellen mellom assistert retur og tvangsretur?</a:t>
            </a:r>
          </a:p>
          <a:p>
            <a:pPr marL="715838" lvl="1" indent="-171450">
              <a:buFont typeface="Arial" panose="020B0604020202020204" pitchFamily="34" charset="0"/>
              <a:buChar char="•"/>
            </a:pPr>
            <a:r>
              <a:rPr lang="nb-NO" dirty="0"/>
              <a:t>Hvordan vil de ulike valgene påvirke deg? </a:t>
            </a:r>
          </a:p>
          <a:p>
            <a:pPr marL="171450" indent="-171450">
              <a:buFont typeface="Arial" panose="020B0604020202020204" pitchFamily="34" charset="0"/>
              <a:buChar char="•"/>
            </a:pPr>
            <a:r>
              <a:rPr lang="nb-NO" dirty="0"/>
              <a:t>Hvis du får avslag på søknaden om å få bli i Norge, hva gjør du da?</a:t>
            </a:r>
          </a:p>
          <a:p>
            <a:pPr marL="171450" indent="-171450">
              <a:buFont typeface="Arial" panose="020B0604020202020204" pitchFamily="34" charset="0"/>
              <a:buChar char="•"/>
            </a:pPr>
            <a:r>
              <a:rPr lang="nb-NO" dirty="0"/>
              <a:t>Hva er konsekvensene av å bli i Norge uten lovlig opphold? </a:t>
            </a:r>
          </a:p>
          <a:p>
            <a:pPr marL="171450" indent="-171450">
              <a:buFont typeface="Arial" panose="020B0604020202020204" pitchFamily="34" charset="0"/>
              <a:buChar char="•"/>
            </a:pPr>
            <a:r>
              <a:rPr lang="nb-NO" dirty="0"/>
              <a:t>Hvor finner dere informasjon om retur?</a:t>
            </a:r>
          </a:p>
          <a:p>
            <a:pPr marL="171450" indent="-171450">
              <a:buFont typeface="Arial" panose="020B0604020202020204" pitchFamily="34" charset="0"/>
              <a:buChar char="•"/>
            </a:pPr>
            <a:r>
              <a:rPr lang="nb-NO" dirty="0"/>
              <a:t>Hvem kan dere kontakte hvis dere har spørsmål om retur?</a:t>
            </a:r>
          </a:p>
          <a:p>
            <a:endParaRPr lang="nb-NO" dirty="0"/>
          </a:p>
          <a:p>
            <a:r>
              <a:rPr lang="nb-NO" b="1" dirty="0"/>
              <a:t>Forslag til metode</a:t>
            </a:r>
          </a:p>
          <a:p>
            <a:r>
              <a:rPr lang="nb-NO" dirty="0"/>
              <a:t>Del beboerne inn i små grupper, for eksempel fire personer. Hvis gruppen er trygg på hverandre kan dere snakke om oppgaven i felleskap. Oppsummering i felleskap. </a:t>
            </a:r>
          </a:p>
          <a:p>
            <a:endParaRPr lang="nb-NO" dirty="0"/>
          </a:p>
        </p:txBody>
      </p:sp>
    </p:spTree>
    <p:extLst>
      <p:ext uri="{BB962C8B-B14F-4D97-AF65-F5344CB8AC3E}">
        <p14:creationId xmlns:p14="http://schemas.microsoft.com/office/powerpoint/2010/main" val="337549542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Til deg som holder presentasjonen</a:t>
            </a:r>
          </a:p>
          <a:p>
            <a:r>
              <a:rPr lang="nb-NO" dirty="0"/>
              <a:t>Repeter kort temaene dere har gått igjennom i dag. Rekker du mer enn foil 51-60 på ett møte, kan du vente med oppsummeringen/evalueringen til du er ferdig med møtet. </a:t>
            </a:r>
          </a:p>
          <a:p>
            <a:r>
              <a:rPr lang="nb-NO" dirty="0"/>
              <a:t>Still spørsmål til gruppen, for å sjekke om informasjonen er forstått. </a:t>
            </a:r>
          </a:p>
          <a:p>
            <a:r>
              <a:rPr lang="nb-NO" dirty="0"/>
              <a:t>Spør om det er noe som fortsatt er uklart, og hvordan møtene kan bli mer nyttige og lærerike. </a:t>
            </a:r>
          </a:p>
          <a:p>
            <a:endParaRPr lang="nb-NO" dirty="0"/>
          </a:p>
          <a:p>
            <a:r>
              <a:rPr lang="nb-NO" b="1" dirty="0"/>
              <a:t>Hva har du lært?</a:t>
            </a:r>
          </a:p>
          <a:p>
            <a:pPr marL="171450" indent="-171450">
              <a:buFont typeface="Arial" panose="020B0604020202020204" pitchFamily="34" charset="0"/>
              <a:buChar char="•"/>
            </a:pPr>
            <a:r>
              <a:rPr lang="nb-NO" dirty="0"/>
              <a:t>Er det noe du lurer på?</a:t>
            </a:r>
          </a:p>
          <a:p>
            <a:pPr marL="171450" indent="-171450">
              <a:buFont typeface="Arial" panose="020B0604020202020204" pitchFamily="34" charset="0"/>
              <a:buChar char="•"/>
            </a:pPr>
            <a:r>
              <a:rPr lang="nb-NO" dirty="0"/>
              <a:t>Er det noe vi kan forklare bedre?</a:t>
            </a:r>
          </a:p>
          <a:p>
            <a:pPr marL="171450" indent="-171450">
              <a:buFont typeface="Arial" panose="020B0604020202020204" pitchFamily="34" charset="0"/>
              <a:buChar char="•"/>
            </a:pPr>
            <a:r>
              <a:rPr lang="nb-NO" dirty="0"/>
              <a:t>Er det informasjon du savner?</a:t>
            </a:r>
          </a:p>
          <a:p>
            <a:pPr marL="171450" indent="-171450">
              <a:buFont typeface="Arial" panose="020B0604020202020204" pitchFamily="34" charset="0"/>
              <a:buChar char="•"/>
            </a:pPr>
            <a:r>
              <a:rPr lang="nb-NO" dirty="0"/>
              <a:t>Kan møtene bli mer nyttige og lærerike?</a:t>
            </a:r>
          </a:p>
          <a:p>
            <a:endParaRPr lang="nb-NO" dirty="0"/>
          </a:p>
          <a:p>
            <a:r>
              <a:rPr lang="nb-NO" dirty="0"/>
              <a:t>Husk å si hva som er temaet for neste møte. Spør om det er noe spesielt de vil fokusere på/vil ha informasjon om. </a:t>
            </a:r>
          </a:p>
          <a:p>
            <a:endParaRPr lang="nb-NO" dirty="0"/>
          </a:p>
          <a:p>
            <a:r>
              <a:rPr lang="nb-NO" b="1" dirty="0"/>
              <a:t>Du kan også </a:t>
            </a:r>
          </a:p>
          <a:p>
            <a:r>
              <a:rPr lang="nb-NO" dirty="0"/>
              <a:t>Ta en runde og be beboerne om å si en ting de husker fra det dere har snakket om. Styr runden, legg til hvis noe mangler. Hvis noen ikke vil si noe er det lov å si pass. </a:t>
            </a:r>
          </a:p>
          <a:p>
            <a:endParaRPr lang="nb-NO" dirty="0"/>
          </a:p>
        </p:txBody>
      </p:sp>
    </p:spTree>
    <p:extLst>
      <p:ext uri="{BB962C8B-B14F-4D97-AF65-F5344CB8AC3E}">
        <p14:creationId xmlns:p14="http://schemas.microsoft.com/office/powerpoint/2010/main" val="296795818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100" b="1" baseline="0" dirty="0"/>
              <a:t>Støttetekst</a:t>
            </a:r>
          </a:p>
          <a:p>
            <a:r>
              <a:rPr lang="nb-NO" sz="1100" baseline="0" dirty="0"/>
              <a:t>Vi er ferdige med asylprosessen. Vi har snakket om </a:t>
            </a:r>
          </a:p>
          <a:p>
            <a:pPr marL="171450" indent="-171450">
              <a:buFont typeface="Arial" panose="020B0604020202020204" pitchFamily="34" charset="0"/>
              <a:buChar char="•"/>
            </a:pPr>
            <a:r>
              <a:rPr lang="nb-NO" sz="1100" baseline="0" dirty="0"/>
              <a:t>hvem som kan få beskyttelse i Norge</a:t>
            </a:r>
          </a:p>
          <a:p>
            <a:pPr marL="171450" indent="-171450">
              <a:buFont typeface="Arial" panose="020B0604020202020204" pitchFamily="34" charset="0"/>
              <a:buChar char="•"/>
            </a:pPr>
            <a:r>
              <a:rPr lang="nb-NO" sz="1100" baseline="0" dirty="0"/>
              <a:t>hvem du møter når du søker om beskyttelse </a:t>
            </a:r>
          </a:p>
          <a:p>
            <a:pPr marL="171450" indent="-171450">
              <a:buFont typeface="Arial" panose="020B0604020202020204" pitchFamily="34" charset="0"/>
              <a:buChar char="•"/>
            </a:pPr>
            <a:r>
              <a:rPr lang="nb-NO" sz="1100" baseline="0" dirty="0"/>
              <a:t>hva du kan gjøre mens du venter på svar </a:t>
            </a:r>
          </a:p>
          <a:p>
            <a:pPr marL="171450" indent="-171450">
              <a:buFont typeface="Arial" panose="020B0604020202020204" pitchFamily="34" charset="0"/>
              <a:buChar char="•"/>
            </a:pPr>
            <a:r>
              <a:rPr lang="nb-NO" sz="1100" baseline="0" dirty="0"/>
              <a:t>hva som skjer hvis du får bli (positivt svar)</a:t>
            </a:r>
          </a:p>
          <a:p>
            <a:pPr marL="171450" indent="-171450">
              <a:buFont typeface="Arial" panose="020B0604020202020204" pitchFamily="34" charset="0"/>
              <a:buChar char="•"/>
            </a:pPr>
            <a:r>
              <a:rPr lang="nb-NO" sz="1100" baseline="0" dirty="0"/>
              <a:t>hva som skjer hvis du må reise hjem (negativt svar)</a:t>
            </a:r>
          </a:p>
          <a:p>
            <a:endParaRPr lang="nb-NO" sz="1100" baseline="0" dirty="0"/>
          </a:p>
          <a:p>
            <a:r>
              <a:rPr lang="nb-NO" sz="1100" b="1" baseline="0" dirty="0"/>
              <a:t>Til deg som holder presentasjonen </a:t>
            </a:r>
          </a:p>
          <a:p>
            <a:r>
              <a:rPr lang="nb-NO" sz="1100" baseline="0" dirty="0"/>
              <a:t>Fortell hva som er neste tema. </a:t>
            </a:r>
          </a:p>
        </p:txBody>
      </p:sp>
    </p:spTree>
    <p:extLst>
      <p:ext uri="{BB962C8B-B14F-4D97-AF65-F5344CB8AC3E}">
        <p14:creationId xmlns:p14="http://schemas.microsoft.com/office/powerpoint/2010/main" val="324706525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Tree>
    <p:extLst>
      <p:ext uri="{BB962C8B-B14F-4D97-AF65-F5344CB8AC3E}">
        <p14:creationId xmlns:p14="http://schemas.microsoft.com/office/powerpoint/2010/main" val="4910834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tøttetekst</a:t>
            </a:r>
          </a:p>
          <a:p>
            <a:r>
              <a:rPr lang="nb-NO" dirty="0"/>
              <a:t>Hvor mange som får beskyttelse i Norge avhenger av hvor mange som søker, hvor de kommer fra og hva de kan oppleve hvis de må reise tilbake til hjemlandet. </a:t>
            </a:r>
          </a:p>
          <a:p>
            <a:endParaRPr lang="nb-NO" dirty="0"/>
          </a:p>
          <a:p>
            <a:r>
              <a:rPr lang="nb-NO" dirty="0"/>
              <a:t>Her ser vi svarene på søknadene om beskyttelse. Vi ser hvem som søkte (årstall står i tabellen), og hvilke land de kommer fra. Informasjonen er hentet fra UDI sine nettsider www.udi.no. </a:t>
            </a:r>
          </a:p>
          <a:p>
            <a:endParaRPr lang="nb-NO" dirty="0"/>
          </a:p>
          <a:p>
            <a:r>
              <a:rPr lang="nb-NO" dirty="0"/>
              <a:t>Dere ser at noen får bli i Norge, og at noen må reise hjem. Det betyr at du bør ha en plan for hva du skal gjøre hvis du får bli i Norge, og en plan for hva du skal gjøre hvis du må reise hjem. </a:t>
            </a:r>
          </a:p>
          <a:p>
            <a:endParaRPr lang="nb-NO" dirty="0"/>
          </a:p>
          <a:p>
            <a:r>
              <a:rPr lang="nb-NO" b="1" dirty="0"/>
              <a:t>Til deg som holder presentasjonen</a:t>
            </a:r>
          </a:p>
          <a:p>
            <a:r>
              <a:rPr lang="nb-NO" dirty="0"/>
              <a:t>Trykk på illustrasjonen så kommer du direkte til UDI-siden https://www.udi.no/en/statistics-and-analysis/statistics/ </a:t>
            </a:r>
          </a:p>
          <a:p>
            <a:r>
              <a:rPr lang="nb-NO" dirty="0"/>
              <a:t>Du kan søke på land i «filtrer data rubrikken». </a:t>
            </a:r>
          </a:p>
        </p:txBody>
      </p:sp>
    </p:spTree>
    <p:extLst>
      <p:ext uri="{BB962C8B-B14F-4D97-AF65-F5344CB8AC3E}">
        <p14:creationId xmlns:p14="http://schemas.microsoft.com/office/powerpoint/2010/main" val="1818730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55000" lnSpcReduction="20000"/>
          </a:bodyPr>
          <a:lstStyle/>
          <a:p>
            <a:r>
              <a:rPr lang="nb-NO" sz="1100" b="1" dirty="0"/>
              <a:t>Støttetekst</a:t>
            </a:r>
          </a:p>
          <a:p>
            <a:r>
              <a:rPr lang="nb-NO" sz="1100" b="1" dirty="0"/>
              <a:t>Hvem bestemmer hvem som kan få beskyttelse?</a:t>
            </a:r>
          </a:p>
          <a:p>
            <a:r>
              <a:rPr lang="nb-NO" sz="1100" dirty="0"/>
              <a:t>Det er Utlendingsdirektoratet (UDI) som avgjør hvem som skal få beskyttelse etter norske og internasjonale lover (Flyktningkonvensjonen). </a:t>
            </a:r>
          </a:p>
          <a:p>
            <a:endParaRPr lang="nb-NO" sz="1100" dirty="0"/>
          </a:p>
          <a:p>
            <a:r>
              <a:rPr lang="nb-NO" sz="1100" b="1" dirty="0"/>
              <a:t>Hvem kan få beskyttelse i Norge?</a:t>
            </a:r>
          </a:p>
          <a:p>
            <a:r>
              <a:rPr lang="nb-NO" sz="1100" dirty="0"/>
              <a:t>Du kan få beskyttelse i Norge hvis norske myndigheter mener du står i fare for å miste livet, bli utsatt for alvorlige overgrep eller annen form for forfølgelse hvis du reiser hjem. Da kan du få oppholdstillatelse som flyktning. </a:t>
            </a:r>
          </a:p>
          <a:p>
            <a:endParaRPr lang="nb-NO" sz="1100" dirty="0"/>
          </a:p>
          <a:p>
            <a:r>
              <a:rPr lang="nb-NO" sz="1100" dirty="0"/>
              <a:t>Det er spesielt to bestemmelser som er viktig når UDI vurderer om du har rett til beskyttelsene.</a:t>
            </a:r>
          </a:p>
          <a:p>
            <a:endParaRPr lang="nb-NO" sz="1100" dirty="0"/>
          </a:p>
          <a:p>
            <a:r>
              <a:rPr lang="nb-NO" sz="1100" dirty="0"/>
              <a:t>Den ene, (Utlendingsloven § 28 første ledd bokstav a) som følger av Flyktningkonvensjonen sier at du har rett til beskyttelse hvis du har en velbegrunnet frykt for å miste livet, bli utsatt for alvorlige overgrep eller annen form for forfølgelse på grunn av:</a:t>
            </a:r>
          </a:p>
          <a:p>
            <a:pPr marL="171450" indent="-171450">
              <a:buFont typeface="Arial" panose="020B0604020202020204" pitchFamily="34" charset="0"/>
              <a:buChar char="•"/>
            </a:pPr>
            <a:r>
              <a:rPr lang="nb-NO" sz="1100" dirty="0"/>
              <a:t>etnisitet </a:t>
            </a:r>
          </a:p>
          <a:p>
            <a:pPr marL="171450" indent="-171450">
              <a:buFont typeface="Arial" panose="020B0604020202020204" pitchFamily="34" charset="0"/>
              <a:buChar char="•"/>
            </a:pPr>
            <a:r>
              <a:rPr lang="nb-NO" sz="1100" dirty="0"/>
              <a:t>avstamning </a:t>
            </a:r>
          </a:p>
          <a:p>
            <a:pPr marL="171450" indent="-171450">
              <a:buFont typeface="Arial" panose="020B0604020202020204" pitchFamily="34" charset="0"/>
              <a:buChar char="•"/>
            </a:pPr>
            <a:r>
              <a:rPr lang="nb-NO" sz="1100" dirty="0"/>
              <a:t>hudfarge</a:t>
            </a:r>
          </a:p>
          <a:p>
            <a:pPr marL="171450" indent="-171450">
              <a:buFont typeface="Arial" panose="020B0604020202020204" pitchFamily="34" charset="0"/>
              <a:buChar char="•"/>
            </a:pPr>
            <a:r>
              <a:rPr lang="nb-NO" sz="1100" dirty="0"/>
              <a:t>religion</a:t>
            </a:r>
          </a:p>
          <a:p>
            <a:pPr marL="171450" indent="-171450">
              <a:buFont typeface="Arial" panose="020B0604020202020204" pitchFamily="34" charset="0"/>
              <a:buChar char="•"/>
            </a:pPr>
            <a:r>
              <a:rPr lang="nb-NO" sz="1100" dirty="0"/>
              <a:t>nasjonalitet</a:t>
            </a:r>
          </a:p>
          <a:p>
            <a:pPr marL="171450" indent="-171450">
              <a:buFont typeface="Arial" panose="020B0604020202020204" pitchFamily="34" charset="0"/>
              <a:buChar char="•"/>
            </a:pPr>
            <a:r>
              <a:rPr lang="nb-NO" sz="1100" dirty="0"/>
              <a:t>medlemskap i en spesiell sosial gruppe </a:t>
            </a:r>
          </a:p>
          <a:p>
            <a:pPr marL="171450" indent="-171450">
              <a:buFont typeface="Arial" panose="020B0604020202020204" pitchFamily="34" charset="0"/>
              <a:buChar char="•"/>
            </a:pPr>
            <a:r>
              <a:rPr lang="nb-NO" sz="1100" dirty="0"/>
              <a:t>politisk oppfatning</a:t>
            </a:r>
          </a:p>
          <a:p>
            <a:r>
              <a:rPr lang="nb-NO" sz="1100" dirty="0"/>
              <a:t> </a:t>
            </a:r>
          </a:p>
          <a:p>
            <a:r>
              <a:rPr lang="nb-NO" sz="1100" dirty="0"/>
              <a:t>Den andre, (Utlendingsloven § 28 første ledd bokstav b) som følger av den Europeiske Menneskerettighetskonvensjonen, sier at du også har rett til beskyttelse hvis du står i reell fare for å bli utsatt for dødsstraff, tortur, annen umenneskelig eller nedverdigende behandling, eller straff hvis du må reise tilbake til hjemlandet ditt.</a:t>
            </a:r>
          </a:p>
          <a:p>
            <a:endParaRPr lang="nb-NO" sz="1100" dirty="0"/>
          </a:p>
          <a:p>
            <a:r>
              <a:rPr lang="nb-NO" sz="1100" b="1" dirty="0"/>
              <a:t>Myndighetsbeskyttelse</a:t>
            </a:r>
          </a:p>
          <a:p>
            <a:r>
              <a:rPr lang="nb-NO" sz="1100" dirty="0"/>
              <a:t>Du kan bare få beskyttelse i Norge hvis myndighetene i hjemlandet ditt ikke kan eller vil beskytte deg. Det er fordi det først og fremst er hjemlandet ditt som har ansvar for å beskytte deg. Hvis UDI mener at du kan leve trygt og bo i en annen del av hjemlandet ditt enn den du kommer fra (internflukt), får du ikke beskyttelse i Norge  </a:t>
            </a:r>
          </a:p>
          <a:p>
            <a:endParaRPr lang="nb-NO" sz="1100" dirty="0"/>
          </a:p>
          <a:p>
            <a:r>
              <a:rPr lang="nb-NO" sz="1100" b="1" dirty="0"/>
              <a:t>En fremtidsrettet vurdering</a:t>
            </a:r>
          </a:p>
          <a:p>
            <a:r>
              <a:rPr lang="nb-NO" sz="1100" dirty="0"/>
              <a:t>Når UDI vurderer om du har behov for beskyttelse, vurderer de først og fremst hva du kan oppleve hvis du må reise tilbake til hjemlandet ditt. Det vil si at du får beskyttelse for det som kan hende i framtiden, og ikke på grunn av det som har skjedd i fortiden. Vi kaller det en fremtidsrettet vurdering. Det betyr at du kan ha opplevd overgrep eller trusler i hjemlandet ditt, men at UDI likevel vurderer at du ikke står i fare for å miste livet eller bli utsatt for alvorlige overgrep eller annen forfølgelse hvis du reiser hjem. </a:t>
            </a:r>
          </a:p>
          <a:p>
            <a:endParaRPr lang="nb-NO" sz="1100" dirty="0"/>
          </a:p>
          <a:p>
            <a:r>
              <a:rPr lang="nb-NO" sz="1100" b="1" dirty="0"/>
              <a:t>Oppholdstillatelse på grunn av sterke menneskelige hensyn § 38</a:t>
            </a:r>
          </a:p>
          <a:p>
            <a:r>
              <a:rPr lang="nb-NO" sz="1100" dirty="0"/>
              <a:t>Hvis du ikke har krav på beskyttelse, vil UDI vurdere om du i stedet fyller kravene for å få en oppholdstillatelse på grunn av sterke menneskelige hensyn. UDI vil automatisk vurdere om du kan få en slik tillatelse. Du kan ikke søke spesielt om det. </a:t>
            </a:r>
          </a:p>
          <a:p>
            <a:endParaRPr lang="nb-NO" sz="1100" dirty="0"/>
          </a:p>
          <a:p>
            <a:r>
              <a:rPr lang="nb-NO" sz="1100" dirty="0"/>
              <a:t>Du kan få innvilget en oppholdstillatelse på grunn av sterke menneskelige hensyn, hvis du for eksempel har nær tilknytning til Norge, eller svært alvorlige fysiske eller psykiske sykdommer som du ikke kan få behandling for i hjemlandet. Du kan få, men du har ikke rett til en slik tillatelse. Det er ikke mange som får denne tillatelsen.   </a:t>
            </a:r>
          </a:p>
          <a:p>
            <a:endParaRPr lang="nb-NO" sz="1100" dirty="0"/>
          </a:p>
          <a:p>
            <a:r>
              <a:rPr lang="nb-NO" sz="1100" b="1" dirty="0"/>
              <a:t>Ikke alle får bli i Norge </a:t>
            </a:r>
          </a:p>
          <a:p>
            <a:r>
              <a:rPr lang="nb-NO" sz="1100" dirty="0"/>
              <a:t>Du som søker om beskyttelse har gode grunner til å søke. Det du har opplevd eller frykter kan skje i hjemlandet ditt hvis du reiser hjem, er ikke alltid nok til å få bli i Norge. </a:t>
            </a:r>
          </a:p>
          <a:p>
            <a:endParaRPr lang="nb-NO" sz="1100" dirty="0"/>
          </a:p>
          <a:p>
            <a:r>
              <a:rPr lang="nb-NO" sz="1100" b="1" dirty="0"/>
              <a:t>Til deg som holder presentasjonen </a:t>
            </a:r>
          </a:p>
          <a:p>
            <a:r>
              <a:rPr lang="nb-NO" sz="1100" dirty="0"/>
              <a:t>Hvis beboerne ønsker å diskutere søknadene sine, forklar at dere i dette møtet skal snakke om asylprosessen og ikke om den enkeltes søknad. </a:t>
            </a:r>
          </a:p>
          <a:p>
            <a:r>
              <a:rPr lang="nb-NO" sz="1100" dirty="0"/>
              <a:t>Forklar din rolle som mottaksansatt. Du skal ikke inn i sakene, men du kan informere om hvor de kan få råd og veiledning.</a:t>
            </a:r>
          </a:p>
          <a:p>
            <a:endParaRPr lang="nb-NO" dirty="0"/>
          </a:p>
        </p:txBody>
      </p:sp>
    </p:spTree>
    <p:extLst>
      <p:ext uri="{BB962C8B-B14F-4D97-AF65-F5344CB8AC3E}">
        <p14:creationId xmlns:p14="http://schemas.microsoft.com/office/powerpoint/2010/main" val="5662857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Oppgave </a:t>
            </a:r>
          </a:p>
          <a:p>
            <a:r>
              <a:rPr lang="nb-NO" dirty="0"/>
              <a:t>Tegn søknadsprosessen (i asylprosessen) i fellesskap. Hva har du gjort så langt, og hva gjenstår?</a:t>
            </a:r>
          </a:p>
          <a:p>
            <a:endParaRPr lang="nb-NO" dirty="0"/>
          </a:p>
          <a:p>
            <a:r>
              <a:rPr lang="nb-NO" b="1" dirty="0"/>
              <a:t>Forslag til metode </a:t>
            </a:r>
          </a:p>
          <a:p>
            <a:pPr marL="171450" indent="-171450">
              <a:buFont typeface="Arial" panose="020B0604020202020204" pitchFamily="34" charset="0"/>
              <a:buChar char="•"/>
            </a:pPr>
            <a:r>
              <a:rPr lang="nb-NO" dirty="0"/>
              <a:t>Heng opp et gråpapir før møtet starter. Tegn en tidslinje midt på arket. Be beboerne om å komme med innspill til hvilke prosesser som skal tegnes opp på tidslinjen. Bruk tegningen som utgangspunkt for å gi informasjon om asylprosessen.</a:t>
            </a:r>
          </a:p>
          <a:p>
            <a:endParaRPr lang="nb-NO" dirty="0"/>
          </a:p>
          <a:p>
            <a:pPr marL="171450" indent="-171450">
              <a:buFont typeface="Arial" panose="020B0604020202020204" pitchFamily="34" charset="0"/>
              <a:buChar char="•"/>
            </a:pPr>
            <a:r>
              <a:rPr lang="nb-NO" dirty="0"/>
              <a:t>Del ut rosa og grønne </a:t>
            </a:r>
            <a:r>
              <a:rPr lang="nb-NO" dirty="0" err="1"/>
              <a:t>post-it</a:t>
            </a:r>
            <a:r>
              <a:rPr lang="nb-NO" dirty="0"/>
              <a:t> lapper. Be beboerne klistre grønne lapper på prosessene de har skjønt godt, og rosa lapper på det de synes er vanskelig å forstå, eller hvor de har mange spørsmål. Velg ut områdene med mange rosa lapper og be alle stille spørsmål om det de lurer på. Skriv spørsmålene på en tavle. Besvar spørsmålene så langt det lar seg gjøre nå eller i løpet av denne modulen om asylprosessen.   </a:t>
            </a:r>
          </a:p>
        </p:txBody>
      </p:sp>
    </p:spTree>
    <p:extLst>
      <p:ext uri="{BB962C8B-B14F-4D97-AF65-F5344CB8AC3E}">
        <p14:creationId xmlns:p14="http://schemas.microsoft.com/office/powerpoint/2010/main" val="32845930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1.wmv"/><Relationship Id="rId1" Type="http://schemas.microsoft.com/office/2007/relationships/media" Target="../media/media1.wmv"/><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xml"/><Relationship Id="rId7" Type="http://schemas.openxmlformats.org/officeDocument/2006/relationships/oleObject" Target="../embeddings/oleObject2.bin"/><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8.xml"/><Relationship Id="rId10" Type="http://schemas.openxmlformats.org/officeDocument/2006/relationships/image" Target="../media/image5.png"/><Relationship Id="rId4" Type="http://schemas.openxmlformats.org/officeDocument/2006/relationships/tags" Target="../tags/tag7.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xml"/><Relationship Id="rId7" Type="http://schemas.openxmlformats.org/officeDocument/2006/relationships/oleObject" Target="../embeddings/oleObject3.bin"/><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2.xml"/><Relationship Id="rId10" Type="http://schemas.openxmlformats.org/officeDocument/2006/relationships/image" Target="../media/image5.png"/><Relationship Id="rId4" Type="http://schemas.openxmlformats.org/officeDocument/2006/relationships/tags" Target="../tags/tag11.xml"/><Relationship Id="rId9"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xml"/><Relationship Id="rId7" Type="http://schemas.openxmlformats.org/officeDocument/2006/relationships/oleObject" Target="../embeddings/oleObject4.bin"/><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6.xml"/><Relationship Id="rId10" Type="http://schemas.openxmlformats.org/officeDocument/2006/relationships/image" Target="../media/image5.png"/><Relationship Id="rId4" Type="http://schemas.openxmlformats.org/officeDocument/2006/relationships/tags" Target="../tags/tag15.xml"/><Relationship Id="rId9"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Logoanimasjon">
    <p:bg>
      <p:bgPr>
        <a:solidFill>
          <a:srgbClr val="FCFCFC"/>
        </a:solidFill>
        <a:effectLst/>
      </p:bgPr>
    </p:bg>
    <p:spTree>
      <p:nvGrpSpPr>
        <p:cNvPr id="1" name=""/>
        <p:cNvGrpSpPr/>
        <p:nvPr/>
      </p:nvGrpSpPr>
      <p:grpSpPr>
        <a:xfrm>
          <a:off x="0" y="0"/>
          <a:ext cx="0" cy="0"/>
          <a:chOff x="0" y="0"/>
          <a:chExt cx="0" cy="0"/>
        </a:xfrm>
      </p:grpSpPr>
      <p:pic>
        <p:nvPicPr>
          <p:cNvPr id="2" name="UDI_logo_anim.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5175" cy="6859786"/>
          </a:xfrm>
          <a:prstGeom prst="rect">
            <a:avLst/>
          </a:prstGeom>
        </p:spPr>
      </p:pic>
    </p:spTree>
    <p:extLst>
      <p:ext uri="{BB962C8B-B14F-4D97-AF65-F5344CB8AC3E}">
        <p14:creationId xmlns:p14="http://schemas.microsoft.com/office/powerpoint/2010/main" val="2168981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0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Klikk for å redigere tittelstil</a:t>
            </a:r>
          </a:p>
        </p:txBody>
      </p:sp>
      <p:sp>
        <p:nvSpPr>
          <p:cNvPr id="5" name="Plassholder for innhold 4">
            <a:extLst>
              <a:ext uri="{FF2B5EF4-FFF2-40B4-BE49-F238E27FC236}">
                <a16:creationId xmlns:a16="http://schemas.microsoft.com/office/drawing/2014/main" id="{57429B50-E2B4-4488-A02D-5595C7202926}"/>
              </a:ext>
            </a:extLst>
          </p:cNvPr>
          <p:cNvSpPr>
            <a:spLocks noGrp="1"/>
          </p:cNvSpPr>
          <p:nvPr>
            <p:ph idx="15"/>
          </p:nvPr>
        </p:nvSpPr>
        <p:spPr>
          <a:xfrm>
            <a:off x="630080" y="1584198"/>
            <a:ext cx="5220653" cy="4140959"/>
          </a:xfrm>
        </p:spPr>
        <p:txBody>
          <a:bodyPr lIns="0" tIns="0" rIns="0" bIns="0"/>
          <a:lstStyle/>
          <a:p>
            <a:pPr lvl="0"/>
            <a:r>
              <a:rPr lang="nb-NO" dirty="0"/>
              <a:t>Klikk for å redigere tekststiler i malen</a:t>
            </a:r>
          </a:p>
          <a:p>
            <a:pPr lvl="1"/>
            <a:r>
              <a:rPr lang="nb-NO" dirty="0"/>
              <a:t>Andre nivå</a:t>
            </a:r>
          </a:p>
        </p:txBody>
      </p:sp>
      <p:sp>
        <p:nvSpPr>
          <p:cNvPr id="6" name="Plassholder for innhold 5">
            <a:extLst>
              <a:ext uri="{FF2B5EF4-FFF2-40B4-BE49-F238E27FC236}">
                <a16:creationId xmlns:a16="http://schemas.microsoft.com/office/drawing/2014/main" id="{7BB4167F-5524-4CC2-AFC0-4E28158A4533}"/>
              </a:ext>
            </a:extLst>
          </p:cNvPr>
          <p:cNvSpPr>
            <a:spLocks noGrp="1"/>
          </p:cNvSpPr>
          <p:nvPr>
            <p:ph sz="quarter" idx="16"/>
          </p:nvPr>
        </p:nvSpPr>
        <p:spPr>
          <a:xfrm>
            <a:off x="6318790" y="1584198"/>
            <a:ext cx="5220653" cy="4140959"/>
          </a:xfrm>
          <a:prstGeom prst="rect">
            <a:avLst/>
          </a:prstGeom>
        </p:spPr>
        <p:txBody>
          <a:bodyPr lIns="0" tIns="0" rIns="0" bIns="0"/>
          <a:lstStyle/>
          <a:p>
            <a:pPr lvl="0"/>
            <a:r>
              <a:rPr lang="nb-NO" dirty="0"/>
              <a:t>Klikk for å redigere tekststiler i malen</a:t>
            </a:r>
          </a:p>
          <a:p>
            <a:pPr lvl="1"/>
            <a:r>
              <a:rPr lang="nb-NO" dirty="0"/>
              <a:t>Andre nivå</a:t>
            </a:r>
          </a:p>
        </p:txBody>
      </p:sp>
    </p:spTree>
    <p:extLst>
      <p:ext uri="{BB962C8B-B14F-4D97-AF65-F5344CB8AC3E}">
        <p14:creationId xmlns:p14="http://schemas.microsoft.com/office/powerpoint/2010/main" val="16201717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boks og stort bilde til høyre">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7BB4167F-5524-4CC2-AFC0-4E28158A4533}"/>
              </a:ext>
            </a:extLst>
          </p:cNvPr>
          <p:cNvSpPr>
            <a:spLocks noGrp="1"/>
          </p:cNvSpPr>
          <p:nvPr>
            <p:ph sz="quarter" idx="16"/>
          </p:nvPr>
        </p:nvSpPr>
        <p:spPr>
          <a:xfrm>
            <a:off x="5809556" y="565196"/>
            <a:ext cx="5729888" cy="5159962"/>
          </a:xfrm>
          <a:prstGeom prst="rect">
            <a:avLst/>
          </a:prstGeom>
        </p:spPr>
        <p:txBody>
          <a:bodyPr lIns="0" tIns="0" rIns="0" bIns="0"/>
          <a:lstStyle/>
          <a:p>
            <a:pPr lvl="0"/>
            <a:r>
              <a:rPr lang="nb-NO" dirty="0"/>
              <a:t>Klikk for å redigere tekststiler i malen</a:t>
            </a:r>
          </a:p>
          <a:p>
            <a:pPr lvl="1"/>
            <a:r>
              <a:rPr lang="nb-NO" dirty="0"/>
              <a:t>Andre nivå</a:t>
            </a:r>
          </a:p>
        </p:txBody>
      </p:sp>
      <p:sp>
        <p:nvSpPr>
          <p:cNvPr id="7" name="Tittel 1">
            <a:extLst>
              <a:ext uri="{FF2B5EF4-FFF2-40B4-BE49-F238E27FC236}">
                <a16:creationId xmlns:a16="http://schemas.microsoft.com/office/drawing/2014/main" id="{1FBB47F2-2946-4476-9E0D-A4BB7DE73CE5}"/>
              </a:ext>
            </a:extLst>
          </p:cNvPr>
          <p:cNvSpPr>
            <a:spLocks noGrp="1"/>
          </p:cNvSpPr>
          <p:nvPr>
            <p:ph type="title"/>
          </p:nvPr>
        </p:nvSpPr>
        <p:spPr>
          <a:xfrm>
            <a:off x="630079" y="565196"/>
            <a:ext cx="4819436" cy="1280422"/>
          </a:xfrm>
        </p:spPr>
        <p:txBody>
          <a:bodyPr/>
          <a:lstStyle/>
          <a:p>
            <a:r>
              <a:rPr lang="nb-NO" dirty="0"/>
              <a:t>Klikk for å redigere tittelstil</a:t>
            </a:r>
          </a:p>
        </p:txBody>
      </p:sp>
    </p:spTree>
    <p:extLst>
      <p:ext uri="{BB962C8B-B14F-4D97-AF65-F5344CB8AC3E}">
        <p14:creationId xmlns:p14="http://schemas.microsoft.com/office/powerpoint/2010/main" val="11218815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rkelbilde høyr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14" name="Plassholder for bilde 13"/>
          <p:cNvSpPr>
            <a:spLocks noGrp="1"/>
          </p:cNvSpPr>
          <p:nvPr>
            <p:ph type="pic" sz="quarter" idx="13" hasCustomPrompt="1"/>
          </p:nvPr>
        </p:nvSpPr>
        <p:spPr>
          <a:xfrm>
            <a:off x="6889675" y="1584197"/>
            <a:ext cx="4176522" cy="4176522"/>
          </a:xfrm>
          <a:prstGeom prst="ellipse">
            <a:avLst/>
          </a:prstGeom>
        </p:spPr>
        <p:txBody>
          <a:bodyPr tIns="642978"/>
          <a:lstStyle>
            <a:lvl1pPr algn="ctr">
              <a:buNone/>
              <a:defRPr baseline="0"/>
            </a:lvl1pPr>
          </a:lstStyle>
          <a:p>
            <a:r>
              <a:rPr lang="nb-NO" dirty="0"/>
              <a:t>Sett inn bilde</a:t>
            </a:r>
          </a:p>
        </p:txBody>
      </p:sp>
      <p:sp>
        <p:nvSpPr>
          <p:cNvPr id="3" name="Plassholder for innhold 2">
            <a:extLst>
              <a:ext uri="{FF2B5EF4-FFF2-40B4-BE49-F238E27FC236}">
                <a16:creationId xmlns:a16="http://schemas.microsoft.com/office/drawing/2014/main" id="{31B65D4B-F6DF-43F5-BE8D-E988D74A03E1}"/>
              </a:ext>
            </a:extLst>
          </p:cNvPr>
          <p:cNvSpPr>
            <a:spLocks noGrp="1"/>
          </p:cNvSpPr>
          <p:nvPr>
            <p:ph sz="quarter" idx="14"/>
          </p:nvPr>
        </p:nvSpPr>
        <p:spPr>
          <a:xfrm>
            <a:off x="630079" y="1584198"/>
            <a:ext cx="5220653" cy="4140517"/>
          </a:xfrm>
          <a:prstGeom prst="rect">
            <a:avLst/>
          </a:prstGeo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16201717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irkelbilde venstr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14" name="Plassholder for bilde 13"/>
          <p:cNvSpPr>
            <a:spLocks noGrp="1"/>
          </p:cNvSpPr>
          <p:nvPr>
            <p:ph type="pic" sz="quarter" idx="13" hasCustomPrompt="1"/>
          </p:nvPr>
        </p:nvSpPr>
        <p:spPr>
          <a:xfrm>
            <a:off x="1206151" y="1584198"/>
            <a:ext cx="4176522" cy="4176522"/>
          </a:xfrm>
          <a:prstGeom prst="ellipse">
            <a:avLst/>
          </a:prstGeom>
        </p:spPr>
        <p:txBody>
          <a:bodyPr tIns="642978"/>
          <a:lstStyle>
            <a:lvl1pPr algn="ctr">
              <a:buNone/>
              <a:defRPr baseline="0"/>
            </a:lvl1pPr>
          </a:lstStyle>
          <a:p>
            <a:r>
              <a:rPr lang="nb-NO" dirty="0"/>
              <a:t>Sett inn bilde</a:t>
            </a:r>
          </a:p>
        </p:txBody>
      </p:sp>
      <p:sp>
        <p:nvSpPr>
          <p:cNvPr id="3" name="Plassholder for innhold 2">
            <a:extLst>
              <a:ext uri="{FF2B5EF4-FFF2-40B4-BE49-F238E27FC236}">
                <a16:creationId xmlns:a16="http://schemas.microsoft.com/office/drawing/2014/main" id="{71B46ED3-EC7D-49AD-851C-84302485C160}"/>
              </a:ext>
            </a:extLst>
          </p:cNvPr>
          <p:cNvSpPr>
            <a:spLocks noGrp="1"/>
          </p:cNvSpPr>
          <p:nvPr>
            <p:ph sz="quarter" idx="14"/>
          </p:nvPr>
        </p:nvSpPr>
        <p:spPr>
          <a:xfrm>
            <a:off x="6318790" y="1584198"/>
            <a:ext cx="5220653" cy="4140517"/>
          </a:xfrm>
          <a:prstGeom prst="rect">
            <a:avLst/>
          </a:prstGeo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16201717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Mellomside gul">
    <p:spTree>
      <p:nvGrpSpPr>
        <p:cNvPr id="1" name=""/>
        <p:cNvGrpSpPr/>
        <p:nvPr/>
      </p:nvGrpSpPr>
      <p:grpSpPr>
        <a:xfrm>
          <a:off x="0" y="0"/>
          <a:ext cx="0" cy="0"/>
          <a:chOff x="0" y="0"/>
          <a:chExt cx="0" cy="0"/>
        </a:xfrm>
      </p:grpSpPr>
      <p:pic>
        <p:nvPicPr>
          <p:cNvPr id="8" name="Bilde 7">
            <a:extLst>
              <a:ext uri="{FF2B5EF4-FFF2-40B4-BE49-F238E27FC236}">
                <a16:creationId xmlns:a16="http://schemas.microsoft.com/office/drawing/2014/main" id="{9838BB9E-AC6F-4065-A795-DCA2D3864877}"/>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t="5256"/>
          <a:stretch/>
        </p:blipFill>
        <p:spPr>
          <a:xfrm>
            <a:off x="0" y="6128605"/>
            <a:ext cx="12193200" cy="730981"/>
          </a:xfrm>
          <a:prstGeom prst="rect">
            <a:avLst/>
          </a:prstGeom>
        </p:spPr>
      </p:pic>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725823960"/>
              </p:ext>
            </p:extLst>
          </p:nvPr>
        </p:nvGraphicFramePr>
        <p:xfrm>
          <a:off x="2118" y="1589"/>
          <a:ext cx="2117" cy="1587"/>
        </p:xfrm>
        <a:graphic>
          <a:graphicData uri="http://schemas.openxmlformats.org/presentationml/2006/ole">
            <mc:AlternateContent xmlns:mc="http://schemas.openxmlformats.org/markup-compatibility/2006">
              <mc:Choice xmlns:v="urn:schemas-microsoft-com:vml" Requires="v">
                <p:oleObj spid="_x0000_s5122" name="think-cell Slide" r:id="rId6" imgW="270" imgH="270" progId="">
                  <p:embed/>
                </p:oleObj>
              </mc:Choice>
              <mc:Fallback>
                <p:oleObj name="think-cell Slide" r:id="rId6" imgW="270" imgH="270" progId="">
                  <p:embed/>
                  <p:pic>
                    <p:nvPicPr>
                      <p:cNvPr id="7" name="Objek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8"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ktangel 5"/>
          <p:cNvSpPr/>
          <p:nvPr userDrawn="1">
            <p:custDataLst>
              <p:tags r:id="rId3"/>
            </p:custDataLst>
          </p:nvPr>
        </p:nvSpPr>
        <p:spPr>
          <a:xfrm>
            <a:off x="381648" y="381648"/>
            <a:ext cx="11431429" cy="5335867"/>
          </a:xfrm>
          <a:prstGeom prst="rect">
            <a:avLst/>
          </a:prstGeom>
          <a:solidFill>
            <a:srgbClr val="FFF0AF"/>
          </a:solidFill>
          <a:ln>
            <a:noFill/>
          </a:ln>
        </p:spPr>
        <p:style>
          <a:lnRef idx="2">
            <a:schemeClr val="accent1">
              <a:shade val="50000"/>
            </a:schemeClr>
          </a:lnRef>
          <a:fillRef idx="1">
            <a:schemeClr val="accent1"/>
          </a:fillRef>
          <a:effectRef idx="0">
            <a:schemeClr val="accent1"/>
          </a:effectRef>
          <a:fontRef idx="minor">
            <a:schemeClr val="lt1"/>
          </a:fontRef>
        </p:style>
        <p:txBody>
          <a:bodyPr lIns="108878" tIns="54439" rIns="108878" bIns="54439" rtlCol="0" anchor="ctr"/>
          <a:lstStyle/>
          <a:p>
            <a:pPr algn="ctr"/>
            <a:endParaRPr lang="nb-NO"/>
          </a:p>
        </p:txBody>
      </p:sp>
      <p:sp>
        <p:nvSpPr>
          <p:cNvPr id="3" name="Plassholder for tekst 2">
            <a:extLst>
              <a:ext uri="{FF2B5EF4-FFF2-40B4-BE49-F238E27FC236}">
                <a16:creationId xmlns:a16="http://schemas.microsoft.com/office/drawing/2014/main" id="{DB3ADEE1-ED66-4557-98C4-1BD846712D4A}"/>
              </a:ext>
            </a:extLst>
          </p:cNvPr>
          <p:cNvSpPr>
            <a:spLocks noGrp="1"/>
          </p:cNvSpPr>
          <p:nvPr>
            <p:ph type="body" sz="quarter" idx="12"/>
          </p:nvPr>
        </p:nvSpPr>
        <p:spPr>
          <a:xfrm>
            <a:off x="630078" y="565271"/>
            <a:ext cx="10935018" cy="4788599"/>
          </a:xfrm>
          <a:prstGeom prst="rect">
            <a:avLst/>
          </a:prstGeom>
        </p:spPr>
        <p:txBody>
          <a:bodyPr lIns="0" tIns="0" rIns="0" bIns="0"/>
          <a:lstStyle>
            <a:lvl1pPr marL="0" indent="0">
              <a:spcBef>
                <a:spcPts val="0"/>
              </a:spcBef>
              <a:buNone/>
              <a:defRPr sz="4000"/>
            </a:lvl1pPr>
          </a:lstStyle>
          <a:p>
            <a:pPr lvl="0"/>
            <a:r>
              <a:rPr lang="nb-NO"/>
              <a:t>Klikk for å redigere tekststiler i malen</a:t>
            </a:r>
          </a:p>
        </p:txBody>
      </p:sp>
      <p:cxnSp>
        <p:nvCxnSpPr>
          <p:cNvPr id="11" name="Rett linje 10">
            <a:extLst>
              <a:ext uri="{FF2B5EF4-FFF2-40B4-BE49-F238E27FC236}">
                <a16:creationId xmlns:a16="http://schemas.microsoft.com/office/drawing/2014/main" id="{B7C40B4C-AAC8-464F-924F-4940AF631C65}"/>
              </a:ext>
            </a:extLst>
          </p:cNvPr>
          <p:cNvCxnSpPr/>
          <p:nvPr userDrawn="1"/>
        </p:nvCxnSpPr>
        <p:spPr>
          <a:xfrm>
            <a:off x="631443" y="6088057"/>
            <a:ext cx="109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94611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Mellomside grø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64B46218-896D-4393-B2A1-366627EBADB8}"/>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t="5256"/>
          <a:stretch/>
        </p:blipFill>
        <p:spPr>
          <a:xfrm>
            <a:off x="0" y="6128605"/>
            <a:ext cx="12193200" cy="730981"/>
          </a:xfrm>
          <a:prstGeom prst="rect">
            <a:avLst/>
          </a:prstGeom>
        </p:spPr>
      </p:pic>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61297408"/>
              </p:ext>
            </p:extLst>
          </p:nvPr>
        </p:nvGraphicFramePr>
        <p:xfrm>
          <a:off x="2118" y="1589"/>
          <a:ext cx="2117" cy="1587"/>
        </p:xfrm>
        <a:graphic>
          <a:graphicData uri="http://schemas.openxmlformats.org/presentationml/2006/ole">
            <mc:AlternateContent xmlns:mc="http://schemas.openxmlformats.org/markup-compatibility/2006">
              <mc:Choice xmlns:v="urn:schemas-microsoft-com:vml" Requires="v">
                <p:oleObj spid="_x0000_s6146" name="think-cell Slide" r:id="rId6" imgW="270" imgH="270" progId="">
                  <p:embed/>
                </p:oleObj>
              </mc:Choice>
              <mc:Fallback>
                <p:oleObj name="think-cell Slide" r:id="rId6" imgW="270" imgH="270" progId="">
                  <p:embed/>
                  <p:pic>
                    <p:nvPicPr>
                      <p:cNvPr id="7" name="Objek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8"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ktangel 5"/>
          <p:cNvSpPr/>
          <p:nvPr userDrawn="1">
            <p:custDataLst>
              <p:tags r:id="rId3"/>
            </p:custDataLst>
          </p:nvPr>
        </p:nvSpPr>
        <p:spPr>
          <a:xfrm>
            <a:off x="381648" y="381648"/>
            <a:ext cx="11431429" cy="5335867"/>
          </a:xfrm>
          <a:prstGeom prst="rect">
            <a:avLst/>
          </a:prstGeom>
          <a:solidFill>
            <a:srgbClr val="267D5C"/>
          </a:solidFill>
          <a:ln>
            <a:noFill/>
          </a:ln>
        </p:spPr>
        <p:style>
          <a:lnRef idx="2">
            <a:schemeClr val="accent1">
              <a:shade val="50000"/>
            </a:schemeClr>
          </a:lnRef>
          <a:fillRef idx="1">
            <a:schemeClr val="accent1"/>
          </a:fillRef>
          <a:effectRef idx="0">
            <a:schemeClr val="accent1"/>
          </a:effectRef>
          <a:fontRef idx="minor">
            <a:schemeClr val="lt1"/>
          </a:fontRef>
        </p:style>
        <p:txBody>
          <a:bodyPr lIns="108878" tIns="54439" rIns="108878" bIns="54439" rtlCol="0" anchor="ctr"/>
          <a:lstStyle/>
          <a:p>
            <a:pPr algn="ctr"/>
            <a:endParaRPr lang="nb-NO"/>
          </a:p>
        </p:txBody>
      </p:sp>
      <p:sp>
        <p:nvSpPr>
          <p:cNvPr id="8" name="Plassholder for tekst 2">
            <a:extLst>
              <a:ext uri="{FF2B5EF4-FFF2-40B4-BE49-F238E27FC236}">
                <a16:creationId xmlns:a16="http://schemas.microsoft.com/office/drawing/2014/main" id="{BBE3BB2F-A7EE-4105-8476-804CC34DF275}"/>
              </a:ext>
            </a:extLst>
          </p:cNvPr>
          <p:cNvSpPr>
            <a:spLocks noGrp="1"/>
          </p:cNvSpPr>
          <p:nvPr>
            <p:ph type="body" sz="quarter" idx="12"/>
          </p:nvPr>
        </p:nvSpPr>
        <p:spPr>
          <a:xfrm>
            <a:off x="630078" y="565271"/>
            <a:ext cx="10935018" cy="4788599"/>
          </a:xfrm>
          <a:prstGeom prst="rect">
            <a:avLst/>
          </a:prstGeom>
        </p:spPr>
        <p:txBody>
          <a:bodyPr lIns="0" tIns="0" rIns="0" bIns="0"/>
          <a:lstStyle>
            <a:lvl1pPr marL="0" indent="0">
              <a:spcBef>
                <a:spcPts val="0"/>
              </a:spcBef>
              <a:buNone/>
              <a:defRPr sz="4000">
                <a:solidFill>
                  <a:schemeClr val="bg1"/>
                </a:solidFill>
              </a:defRPr>
            </a:lvl1pPr>
          </a:lstStyle>
          <a:p>
            <a:pPr lvl="0"/>
            <a:r>
              <a:rPr lang="nb-NO"/>
              <a:t>Klikk for å redigere tekststiler i malen</a:t>
            </a:r>
          </a:p>
        </p:txBody>
      </p:sp>
      <p:cxnSp>
        <p:nvCxnSpPr>
          <p:cNvPr id="12" name="Rett linje 11">
            <a:extLst>
              <a:ext uri="{FF2B5EF4-FFF2-40B4-BE49-F238E27FC236}">
                <a16:creationId xmlns:a16="http://schemas.microsoft.com/office/drawing/2014/main" id="{6C0198CE-8A70-4FB5-BC64-B3DA177427A3}"/>
              </a:ext>
            </a:extLst>
          </p:cNvPr>
          <p:cNvCxnSpPr/>
          <p:nvPr userDrawn="1"/>
        </p:nvCxnSpPr>
        <p:spPr>
          <a:xfrm>
            <a:off x="631443" y="6088057"/>
            <a:ext cx="109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80559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Tom side">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5CEB655B-B40A-4268-A9D0-5713A508DF6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5256"/>
          <a:stretch/>
        </p:blipFill>
        <p:spPr>
          <a:xfrm>
            <a:off x="0" y="6128605"/>
            <a:ext cx="12193200" cy="730981"/>
          </a:xfrm>
          <a:prstGeom prst="rect">
            <a:avLst/>
          </a:prstGeom>
        </p:spPr>
      </p:pic>
      <p:cxnSp>
        <p:nvCxnSpPr>
          <p:cNvPr id="7" name="Rett linje 6">
            <a:extLst>
              <a:ext uri="{FF2B5EF4-FFF2-40B4-BE49-F238E27FC236}">
                <a16:creationId xmlns:a16="http://schemas.microsoft.com/office/drawing/2014/main" id="{B368D6FD-02EE-4D2E-94F5-43F93AED30CB}"/>
              </a:ext>
            </a:extLst>
          </p:cNvPr>
          <p:cNvCxnSpPr/>
          <p:nvPr userDrawn="1"/>
        </p:nvCxnSpPr>
        <p:spPr>
          <a:xfrm>
            <a:off x="631443" y="6088057"/>
            <a:ext cx="109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52652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1_Tom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6956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luttside">
    <p:spTree>
      <p:nvGrpSpPr>
        <p:cNvPr id="1" name=""/>
        <p:cNvGrpSpPr/>
        <p:nvPr/>
      </p:nvGrpSpPr>
      <p:grpSpPr>
        <a:xfrm>
          <a:off x="0" y="0"/>
          <a:ext cx="0" cy="0"/>
          <a:chOff x="0" y="0"/>
          <a:chExt cx="0" cy="0"/>
        </a:xfrm>
      </p:grpSpPr>
      <p:sp>
        <p:nvSpPr>
          <p:cNvPr id="3" name="TekstSylinder 2"/>
          <p:cNvSpPr txBox="1"/>
          <p:nvPr userDrawn="1"/>
        </p:nvSpPr>
        <p:spPr>
          <a:xfrm>
            <a:off x="9665480" y="6225265"/>
            <a:ext cx="1399757" cy="386940"/>
          </a:xfrm>
          <a:prstGeom prst="rect">
            <a:avLst/>
          </a:prstGeom>
          <a:noFill/>
        </p:spPr>
        <p:txBody>
          <a:bodyPr wrap="none" lIns="108878" tIns="54439" rIns="108878" bIns="54439" rtlCol="0">
            <a:spAutoFit/>
          </a:bodyPr>
          <a:lstStyle/>
          <a:p>
            <a:r>
              <a:rPr lang="nb-NO" sz="1800" dirty="0">
                <a:solidFill>
                  <a:srgbClr val="C8373C"/>
                </a:solidFill>
              </a:rPr>
              <a:t>www.udi.no</a:t>
            </a:r>
          </a:p>
        </p:txBody>
      </p:sp>
      <p:pic>
        <p:nvPicPr>
          <p:cNvPr id="7" name="Bilde 11">
            <a:extLst>
              <a:ext uri="{C183D7F6-B498-43B3-948B-1728B52AA6E4}">
                <adec:decorative xmlns:adec="http://schemas.microsoft.com/office/drawing/2017/decorative" val="1"/>
              </a:ext>
            </a:extLst>
          </p:cNvPr>
          <p:cNvPicPr>
            <a:picLocks noChangeAspect="1"/>
          </p:cNvPicPr>
          <p:nvPr userDrawn="1"/>
        </p:nvPicPr>
        <p:blipFill>
          <a:blip r:embed="rId2" cstate="print"/>
          <a:stretch>
            <a:fillRect/>
          </a:stretch>
        </p:blipFill>
        <p:spPr>
          <a:xfrm>
            <a:off x="0" y="0"/>
            <a:ext cx="1700035" cy="1068237"/>
          </a:xfrm>
          <a:prstGeom prst="rect">
            <a:avLst/>
          </a:prstGeom>
        </p:spPr>
      </p:pic>
      <p:pic>
        <p:nvPicPr>
          <p:cNvPr id="8" name="Bilde 12" descr="tekst_bunn_600dpi.png"/>
          <p:cNvPicPr>
            <a:picLocks noChangeAspect="1"/>
          </p:cNvPicPr>
          <p:nvPr userDrawn="1"/>
        </p:nvPicPr>
        <p:blipFill>
          <a:blip r:embed="rId3" cstate="print"/>
          <a:stretch>
            <a:fillRect/>
          </a:stretch>
        </p:blipFill>
        <p:spPr>
          <a:xfrm>
            <a:off x="0" y="5961769"/>
            <a:ext cx="2057499" cy="897818"/>
          </a:xfrm>
          <a:prstGeom prst="rect">
            <a:avLst/>
          </a:prstGeom>
        </p:spPr>
      </p:pic>
      <p:sp>
        <p:nvSpPr>
          <p:cNvPr id="2" name="Plassholder for bunntekst 1"/>
          <p:cNvSpPr>
            <a:spLocks noGrp="1"/>
          </p:cNvSpPr>
          <p:nvPr>
            <p:ph type="ftr" sz="quarter" idx="10"/>
          </p:nvPr>
        </p:nvSpPr>
        <p:spPr>
          <a:xfrm>
            <a:off x="0" y="-7694"/>
            <a:ext cx="0" cy="15389"/>
          </a:xfrm>
          <a:prstGeom prst="rect">
            <a:avLst/>
          </a:prstGeom>
        </p:spPr>
        <p:txBody>
          <a:bodyPr/>
          <a:lstStyle>
            <a:lvl1pPr>
              <a:defRPr sz="100">
                <a:solidFill>
                  <a:schemeClr val="bg1"/>
                </a:solidFill>
              </a:defRPr>
            </a:lvl1pPr>
          </a:lstStyle>
          <a:p>
            <a:endParaRPr lang="nb-NO" dirty="0"/>
          </a:p>
        </p:txBody>
      </p:sp>
      <p:sp>
        <p:nvSpPr>
          <p:cNvPr id="4" name="Plassholder for lysbildenummer 3"/>
          <p:cNvSpPr>
            <a:spLocks noGrp="1"/>
          </p:cNvSpPr>
          <p:nvPr>
            <p:ph type="sldNum" sz="quarter" idx="11"/>
          </p:nvPr>
        </p:nvSpPr>
        <p:spPr>
          <a:xfrm>
            <a:off x="0" y="-23088"/>
            <a:ext cx="0" cy="0"/>
          </a:xfrm>
          <a:prstGeom prst="rect">
            <a:avLst/>
          </a:prstGeom>
        </p:spPr>
        <p:txBody>
          <a:bodyPr>
            <a:normAutofit/>
          </a:bodyPr>
          <a:lstStyle>
            <a:lvl1pPr>
              <a:defRPr sz="100">
                <a:solidFill>
                  <a:schemeClr val="bg1"/>
                </a:solidFill>
              </a:defRPr>
            </a:lvl1pPr>
          </a:lstStyle>
          <a:p>
            <a:fld id="{BB087720-8024-4DD6-978D-6C7F11933EA5}" type="slidenum">
              <a:rPr lang="nb-NO" smtClean="0"/>
              <a:pPr/>
              <a:t>‹#›</a:t>
            </a:fld>
            <a:endParaRPr lang="nb-NO" dirty="0"/>
          </a:p>
        </p:txBody>
      </p:sp>
      <p:pic>
        <p:nvPicPr>
          <p:cNvPr id="9" name="Bild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79528" y="1584198"/>
            <a:ext cx="11436119" cy="4133096"/>
          </a:xfrm>
          <a:prstGeom prst="rect">
            <a:avLst/>
          </a:prstGeom>
        </p:spPr>
      </p:pic>
    </p:spTree>
    <p:extLst>
      <p:ext uri="{BB962C8B-B14F-4D97-AF65-F5344CB8AC3E}">
        <p14:creationId xmlns:p14="http://schemas.microsoft.com/office/powerpoint/2010/main" val="18946181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Forside grå">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263127847"/>
              </p:ext>
            </p:extLst>
          </p:nvPr>
        </p:nvGraphicFramePr>
        <p:xfrm>
          <a:off x="2118" y="1589"/>
          <a:ext cx="2117" cy="1587"/>
        </p:xfrm>
        <a:graphic>
          <a:graphicData uri="http://schemas.openxmlformats.org/presentationml/2006/ole">
            <mc:AlternateContent xmlns:mc="http://schemas.openxmlformats.org/markup-compatibility/2006">
              <mc:Choice xmlns:v="urn:schemas-microsoft-com:vml" Requires="v">
                <p:oleObj spid="_x0000_s2050" name="think-cell Slide" r:id="rId7" imgW="270" imgH="270" progId="">
                  <p:embed/>
                </p:oleObj>
              </mc:Choice>
              <mc:Fallback>
                <p:oleObj name="think-cell Slide" r:id="rId7" imgW="270" imgH="270" progId="">
                  <p:embed/>
                  <p:pic>
                    <p:nvPicPr>
                      <p:cNvPr id="10" name="Objekt 9"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18"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ktangel 8"/>
          <p:cNvSpPr/>
          <p:nvPr userDrawn="1">
            <p:custDataLst>
              <p:tags r:id="rId3"/>
            </p:custDataLst>
          </p:nvPr>
        </p:nvSpPr>
        <p:spPr>
          <a:xfrm>
            <a:off x="381648" y="1591568"/>
            <a:ext cx="11438630" cy="4140959"/>
          </a:xfrm>
          <a:prstGeom prst="rect">
            <a:avLst/>
          </a:prstGeom>
          <a:solidFill>
            <a:srgbClr val="676767"/>
          </a:solidFill>
          <a:ln>
            <a:noFill/>
          </a:ln>
        </p:spPr>
        <p:style>
          <a:lnRef idx="2">
            <a:schemeClr val="accent1">
              <a:shade val="50000"/>
            </a:schemeClr>
          </a:lnRef>
          <a:fillRef idx="1">
            <a:schemeClr val="accent1"/>
          </a:fillRef>
          <a:effectRef idx="0">
            <a:schemeClr val="accent1"/>
          </a:effectRef>
          <a:fontRef idx="minor">
            <a:schemeClr val="lt1"/>
          </a:fontRef>
        </p:style>
        <p:txBody>
          <a:bodyPr lIns="108878" tIns="54439" rIns="108878" bIns="54439" rtlCol="0" anchor="ctr"/>
          <a:lstStyle/>
          <a:p>
            <a:pPr algn="ctr"/>
            <a:endParaRPr lang="nb-NO"/>
          </a:p>
        </p:txBody>
      </p:sp>
      <p:sp>
        <p:nvSpPr>
          <p:cNvPr id="2" name="Tittel 1"/>
          <p:cNvSpPr>
            <a:spLocks noGrp="1"/>
          </p:cNvSpPr>
          <p:nvPr>
            <p:ph type="ctrTitle"/>
            <p:custDataLst>
              <p:tags r:id="rId4"/>
            </p:custDataLst>
          </p:nvPr>
        </p:nvSpPr>
        <p:spPr>
          <a:xfrm>
            <a:off x="648081" y="1752491"/>
            <a:ext cx="10365899" cy="646331"/>
          </a:xfrm>
        </p:spPr>
        <p:txBody>
          <a:bodyPr lIns="0" tIns="0" rIns="0" bIns="0" anchor="t" anchorCtr="0">
            <a:spAutoFit/>
          </a:bodyPr>
          <a:lstStyle>
            <a:lvl1pPr algn="l">
              <a:defRPr sz="4200">
                <a:solidFill>
                  <a:schemeClr val="bg1"/>
                </a:solidFill>
              </a:defRPr>
            </a:lvl1pPr>
          </a:lstStyle>
          <a:p>
            <a:r>
              <a:rPr lang="nb-NO"/>
              <a:t>Klikk for å redigere tittelstil</a:t>
            </a:r>
            <a:endParaRPr lang="nb-NO" dirty="0"/>
          </a:p>
        </p:txBody>
      </p:sp>
      <p:sp>
        <p:nvSpPr>
          <p:cNvPr id="3" name="Undertittel 2"/>
          <p:cNvSpPr>
            <a:spLocks noGrp="1"/>
          </p:cNvSpPr>
          <p:nvPr>
            <p:ph type="subTitle" idx="1"/>
            <p:custDataLst>
              <p:tags r:id="rId5"/>
            </p:custDataLst>
          </p:nvPr>
        </p:nvSpPr>
        <p:spPr>
          <a:xfrm>
            <a:off x="648081" y="3672459"/>
            <a:ext cx="10365899" cy="384721"/>
          </a:xfrm>
        </p:spPr>
        <p:txBody>
          <a:bodyPr wrap="square" lIns="0" tIns="0" rIns="0" bIns="0" anchor="t" anchorCtr="0">
            <a:spAutoFit/>
          </a:bodyPr>
          <a:lstStyle>
            <a:lvl1pPr marL="0" indent="0" algn="l">
              <a:buNone/>
              <a:defRPr sz="2500">
                <a:solidFill>
                  <a:schemeClr val="bg1"/>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nb-NO"/>
              <a:t>Klikk for å redigere undertittelstil i malen</a:t>
            </a:r>
            <a:endParaRPr lang="nb-NO" dirty="0"/>
          </a:p>
        </p:txBody>
      </p:sp>
      <p:pic>
        <p:nvPicPr>
          <p:cNvPr id="13" name="Bilde 12" descr="tekst_bunn_600dpi.png"/>
          <p:cNvPicPr>
            <a:picLocks noChangeAspect="1"/>
          </p:cNvPicPr>
          <p:nvPr userDrawn="1"/>
        </p:nvPicPr>
        <p:blipFill>
          <a:blip r:embed="rId9" cstate="print"/>
          <a:stretch>
            <a:fillRect/>
          </a:stretch>
        </p:blipFill>
        <p:spPr>
          <a:xfrm>
            <a:off x="4235" y="5963266"/>
            <a:ext cx="2057499" cy="897818"/>
          </a:xfrm>
          <a:prstGeom prst="rect">
            <a:avLst/>
          </a:prstGeom>
        </p:spPr>
      </p:pic>
      <p:pic>
        <p:nvPicPr>
          <p:cNvPr id="4" name="Bilde 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0" y="0"/>
            <a:ext cx="1596121" cy="1010045"/>
          </a:xfrm>
          <a:prstGeom prst="rect">
            <a:avLst/>
          </a:prstGeom>
        </p:spPr>
      </p:pic>
    </p:spTree>
    <p:extLst>
      <p:ext uri="{BB962C8B-B14F-4D97-AF65-F5344CB8AC3E}">
        <p14:creationId xmlns:p14="http://schemas.microsoft.com/office/powerpoint/2010/main" val="6492185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Forside grønn">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3525048137"/>
              </p:ext>
            </p:extLst>
          </p:nvPr>
        </p:nvGraphicFramePr>
        <p:xfrm>
          <a:off x="2118" y="1589"/>
          <a:ext cx="2117" cy="1587"/>
        </p:xfrm>
        <a:graphic>
          <a:graphicData uri="http://schemas.openxmlformats.org/presentationml/2006/ole">
            <mc:AlternateContent xmlns:mc="http://schemas.openxmlformats.org/markup-compatibility/2006">
              <mc:Choice xmlns:v="urn:schemas-microsoft-com:vml" Requires="v">
                <p:oleObj spid="_x0000_s3074" name="think-cell Slide" r:id="rId7" imgW="270" imgH="270" progId="">
                  <p:embed/>
                </p:oleObj>
              </mc:Choice>
              <mc:Fallback>
                <p:oleObj name="think-cell Slide" r:id="rId7" imgW="270" imgH="270" progId="">
                  <p:embed/>
                  <p:pic>
                    <p:nvPicPr>
                      <p:cNvPr id="10" name="Objekt 9"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18"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ktangel 8"/>
          <p:cNvSpPr/>
          <p:nvPr userDrawn="1">
            <p:custDataLst>
              <p:tags r:id="rId3"/>
            </p:custDataLst>
          </p:nvPr>
        </p:nvSpPr>
        <p:spPr>
          <a:xfrm>
            <a:off x="381648" y="1591568"/>
            <a:ext cx="11438630" cy="4140959"/>
          </a:xfrm>
          <a:prstGeom prst="rect">
            <a:avLst/>
          </a:prstGeom>
          <a:solidFill>
            <a:srgbClr val="267D5C"/>
          </a:solidFill>
          <a:ln>
            <a:noFill/>
          </a:ln>
        </p:spPr>
        <p:style>
          <a:lnRef idx="2">
            <a:schemeClr val="accent1">
              <a:shade val="50000"/>
            </a:schemeClr>
          </a:lnRef>
          <a:fillRef idx="1">
            <a:schemeClr val="accent1"/>
          </a:fillRef>
          <a:effectRef idx="0">
            <a:schemeClr val="accent1"/>
          </a:effectRef>
          <a:fontRef idx="minor">
            <a:schemeClr val="lt1"/>
          </a:fontRef>
        </p:style>
        <p:txBody>
          <a:bodyPr lIns="108878" tIns="54439" rIns="108878" bIns="54439" rtlCol="0" anchor="ctr"/>
          <a:lstStyle/>
          <a:p>
            <a:pPr algn="ctr"/>
            <a:endParaRPr lang="nb-NO"/>
          </a:p>
        </p:txBody>
      </p:sp>
      <p:sp>
        <p:nvSpPr>
          <p:cNvPr id="2" name="Tittel 1"/>
          <p:cNvSpPr>
            <a:spLocks noGrp="1"/>
          </p:cNvSpPr>
          <p:nvPr>
            <p:ph type="ctrTitle"/>
            <p:custDataLst>
              <p:tags r:id="rId4"/>
            </p:custDataLst>
          </p:nvPr>
        </p:nvSpPr>
        <p:spPr>
          <a:xfrm>
            <a:off x="648081" y="1752491"/>
            <a:ext cx="10365899" cy="646331"/>
          </a:xfrm>
        </p:spPr>
        <p:txBody>
          <a:bodyPr lIns="0" tIns="0" rIns="0" bIns="0" anchor="t" anchorCtr="0">
            <a:spAutoFit/>
          </a:bodyPr>
          <a:lstStyle>
            <a:lvl1pPr algn="l">
              <a:defRPr sz="4200">
                <a:solidFill>
                  <a:schemeClr val="bg1"/>
                </a:solidFill>
              </a:defRPr>
            </a:lvl1pPr>
          </a:lstStyle>
          <a:p>
            <a:r>
              <a:rPr lang="nb-NO"/>
              <a:t>Klikk for å redigere tittelstil</a:t>
            </a:r>
            <a:endParaRPr lang="nb-NO" dirty="0"/>
          </a:p>
        </p:txBody>
      </p:sp>
      <p:sp>
        <p:nvSpPr>
          <p:cNvPr id="3" name="Undertittel 2"/>
          <p:cNvSpPr>
            <a:spLocks noGrp="1"/>
          </p:cNvSpPr>
          <p:nvPr>
            <p:ph type="subTitle" idx="1"/>
            <p:custDataLst>
              <p:tags r:id="rId5"/>
            </p:custDataLst>
          </p:nvPr>
        </p:nvSpPr>
        <p:spPr>
          <a:xfrm>
            <a:off x="648081" y="3672459"/>
            <a:ext cx="10365899" cy="384721"/>
          </a:xfrm>
        </p:spPr>
        <p:txBody>
          <a:bodyPr wrap="square" lIns="0" tIns="0" rIns="0" bIns="0" anchor="t" anchorCtr="0">
            <a:spAutoFit/>
          </a:bodyPr>
          <a:lstStyle>
            <a:lvl1pPr marL="0" indent="0" algn="l">
              <a:buNone/>
              <a:defRPr sz="2500">
                <a:solidFill>
                  <a:schemeClr val="bg1"/>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nb-NO"/>
              <a:t>Klikk for å redigere undertittelstil i malen</a:t>
            </a:r>
            <a:endParaRPr lang="nb-NO" dirty="0"/>
          </a:p>
        </p:txBody>
      </p:sp>
      <p:pic>
        <p:nvPicPr>
          <p:cNvPr id="13" name="Bilde 12" descr="tekst_bunn_600dpi.png"/>
          <p:cNvPicPr>
            <a:picLocks noChangeAspect="1"/>
          </p:cNvPicPr>
          <p:nvPr userDrawn="1"/>
        </p:nvPicPr>
        <p:blipFill>
          <a:blip r:embed="rId9" cstate="print"/>
          <a:stretch>
            <a:fillRect/>
          </a:stretch>
        </p:blipFill>
        <p:spPr>
          <a:xfrm>
            <a:off x="4235" y="5963266"/>
            <a:ext cx="2057499" cy="897818"/>
          </a:xfrm>
          <a:prstGeom prst="rect">
            <a:avLst/>
          </a:prstGeom>
        </p:spPr>
      </p:pic>
      <p:pic>
        <p:nvPicPr>
          <p:cNvPr id="4" name="Bilde 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0" y="0"/>
            <a:ext cx="1596121" cy="1010045"/>
          </a:xfrm>
          <a:prstGeom prst="rect">
            <a:avLst/>
          </a:prstGeom>
        </p:spPr>
      </p:pic>
    </p:spTree>
    <p:extLst>
      <p:ext uri="{BB962C8B-B14F-4D97-AF65-F5344CB8AC3E}">
        <p14:creationId xmlns:p14="http://schemas.microsoft.com/office/powerpoint/2010/main" val="17998877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Forside blå">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3939844469"/>
              </p:ext>
            </p:extLst>
          </p:nvPr>
        </p:nvGraphicFramePr>
        <p:xfrm>
          <a:off x="2118" y="1589"/>
          <a:ext cx="2117" cy="1587"/>
        </p:xfrm>
        <a:graphic>
          <a:graphicData uri="http://schemas.openxmlformats.org/presentationml/2006/ole">
            <mc:AlternateContent xmlns:mc="http://schemas.openxmlformats.org/markup-compatibility/2006">
              <mc:Choice xmlns:v="urn:schemas-microsoft-com:vml" Requires="v">
                <p:oleObj spid="_x0000_s4098" name="think-cell Slide" r:id="rId7" imgW="270" imgH="270" progId="">
                  <p:embed/>
                </p:oleObj>
              </mc:Choice>
              <mc:Fallback>
                <p:oleObj name="think-cell Slide" r:id="rId7" imgW="270" imgH="270" progId="">
                  <p:embed/>
                  <p:pic>
                    <p:nvPicPr>
                      <p:cNvPr id="10" name="Objekt 9"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18"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ktangel 8"/>
          <p:cNvSpPr/>
          <p:nvPr userDrawn="1">
            <p:custDataLst>
              <p:tags r:id="rId3"/>
            </p:custDataLst>
          </p:nvPr>
        </p:nvSpPr>
        <p:spPr>
          <a:xfrm>
            <a:off x="381648" y="1591568"/>
            <a:ext cx="11438630" cy="4140959"/>
          </a:xfrm>
          <a:prstGeom prst="rect">
            <a:avLst/>
          </a:prstGeom>
          <a:solidFill>
            <a:srgbClr val="266D72"/>
          </a:solidFill>
          <a:ln>
            <a:noFill/>
          </a:ln>
        </p:spPr>
        <p:style>
          <a:lnRef idx="2">
            <a:schemeClr val="accent1">
              <a:shade val="50000"/>
            </a:schemeClr>
          </a:lnRef>
          <a:fillRef idx="1">
            <a:schemeClr val="accent1"/>
          </a:fillRef>
          <a:effectRef idx="0">
            <a:schemeClr val="accent1"/>
          </a:effectRef>
          <a:fontRef idx="minor">
            <a:schemeClr val="lt1"/>
          </a:fontRef>
        </p:style>
        <p:txBody>
          <a:bodyPr lIns="108878" tIns="54439" rIns="108878" bIns="54439" rtlCol="0" anchor="ctr"/>
          <a:lstStyle/>
          <a:p>
            <a:pPr algn="ctr"/>
            <a:endParaRPr lang="nb-NO" dirty="0"/>
          </a:p>
        </p:txBody>
      </p:sp>
      <p:sp>
        <p:nvSpPr>
          <p:cNvPr id="2" name="Tittel 1"/>
          <p:cNvSpPr>
            <a:spLocks noGrp="1"/>
          </p:cNvSpPr>
          <p:nvPr>
            <p:ph type="ctrTitle"/>
            <p:custDataLst>
              <p:tags r:id="rId4"/>
            </p:custDataLst>
          </p:nvPr>
        </p:nvSpPr>
        <p:spPr>
          <a:xfrm>
            <a:off x="648081" y="1752491"/>
            <a:ext cx="10365899" cy="646331"/>
          </a:xfrm>
          <a:solidFill>
            <a:srgbClr val="266D72"/>
          </a:solidFill>
        </p:spPr>
        <p:txBody>
          <a:bodyPr lIns="0" tIns="0" rIns="0" bIns="0" anchor="t" anchorCtr="0">
            <a:spAutoFit/>
          </a:bodyPr>
          <a:lstStyle>
            <a:lvl1pPr algn="l">
              <a:defRPr sz="4200">
                <a:solidFill>
                  <a:schemeClr val="bg1"/>
                </a:solidFill>
              </a:defRPr>
            </a:lvl1pPr>
          </a:lstStyle>
          <a:p>
            <a:r>
              <a:rPr lang="nb-NO"/>
              <a:t>Klikk for å redigere tittelstil</a:t>
            </a:r>
            <a:endParaRPr lang="nb-NO" dirty="0"/>
          </a:p>
        </p:txBody>
      </p:sp>
      <p:sp>
        <p:nvSpPr>
          <p:cNvPr id="3" name="Undertittel 2"/>
          <p:cNvSpPr>
            <a:spLocks noGrp="1"/>
          </p:cNvSpPr>
          <p:nvPr>
            <p:ph type="subTitle" idx="1"/>
            <p:custDataLst>
              <p:tags r:id="rId5"/>
            </p:custDataLst>
          </p:nvPr>
        </p:nvSpPr>
        <p:spPr>
          <a:xfrm>
            <a:off x="648081" y="3672459"/>
            <a:ext cx="10365899" cy="384721"/>
          </a:xfrm>
        </p:spPr>
        <p:txBody>
          <a:bodyPr wrap="square" lIns="0" tIns="0" rIns="0" bIns="0" anchor="t" anchorCtr="0">
            <a:spAutoFit/>
          </a:bodyPr>
          <a:lstStyle>
            <a:lvl1pPr marL="0" indent="0" algn="l">
              <a:buNone/>
              <a:defRPr sz="2500">
                <a:solidFill>
                  <a:schemeClr val="bg1"/>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nb-NO"/>
              <a:t>Klikk for å redigere undertittelstil i malen</a:t>
            </a:r>
            <a:endParaRPr lang="nb-NO" dirty="0"/>
          </a:p>
        </p:txBody>
      </p:sp>
      <p:pic>
        <p:nvPicPr>
          <p:cNvPr id="13" name="Bilde 12" descr="tekst_bunn_600dpi.png"/>
          <p:cNvPicPr>
            <a:picLocks noChangeAspect="1"/>
          </p:cNvPicPr>
          <p:nvPr userDrawn="1"/>
        </p:nvPicPr>
        <p:blipFill>
          <a:blip r:embed="rId9" cstate="print"/>
          <a:stretch>
            <a:fillRect/>
          </a:stretch>
        </p:blipFill>
        <p:spPr>
          <a:xfrm>
            <a:off x="4235" y="5963266"/>
            <a:ext cx="2057499" cy="897818"/>
          </a:xfrm>
          <a:prstGeom prst="rect">
            <a:avLst/>
          </a:prstGeom>
        </p:spPr>
      </p:pic>
      <p:pic>
        <p:nvPicPr>
          <p:cNvPr id="4" name="Bilde 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0" y="0"/>
            <a:ext cx="1596121" cy="1010045"/>
          </a:xfrm>
          <a:prstGeom prst="rect">
            <a:avLst/>
          </a:prstGeom>
        </p:spPr>
      </p:pic>
    </p:spTree>
    <p:extLst>
      <p:ext uri="{BB962C8B-B14F-4D97-AF65-F5344CB8AC3E}">
        <p14:creationId xmlns:p14="http://schemas.microsoft.com/office/powerpoint/2010/main" val="42832194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Klikk for å redigere tittelstil</a:t>
            </a:r>
          </a:p>
        </p:txBody>
      </p:sp>
      <p:sp>
        <p:nvSpPr>
          <p:cNvPr id="4" name="Plassholder for innhold 3">
            <a:extLst>
              <a:ext uri="{FF2B5EF4-FFF2-40B4-BE49-F238E27FC236}">
                <a16:creationId xmlns:a16="http://schemas.microsoft.com/office/drawing/2014/main" id="{8AA9DA06-D080-4290-804F-7C9E8C9ECE6E}"/>
              </a:ext>
            </a:extLst>
          </p:cNvPr>
          <p:cNvSpPr>
            <a:spLocks noGrp="1"/>
          </p:cNvSpPr>
          <p:nvPr>
            <p:ph sz="quarter" idx="12"/>
          </p:nvPr>
        </p:nvSpPr>
        <p:spPr>
          <a:xfrm>
            <a:off x="630078" y="1584198"/>
            <a:ext cx="10909364" cy="4140959"/>
          </a:xfrm>
          <a:prstGeom prst="rect">
            <a:avLst/>
          </a:prstGeom>
        </p:spPr>
        <p:txBody>
          <a:bodyPr lIns="0" tIns="0" rIns="0" bIns="0"/>
          <a:lstStyle/>
          <a:p>
            <a:pPr lvl="0"/>
            <a:r>
              <a:rPr lang="nb-NO" dirty="0"/>
              <a:t>Klikk for å redigere tekststiler i malen</a:t>
            </a:r>
          </a:p>
          <a:p>
            <a:pPr lvl="1"/>
            <a:r>
              <a:rPr lang="nb-NO" dirty="0"/>
              <a:t>Andre nivå</a:t>
            </a:r>
          </a:p>
        </p:txBody>
      </p:sp>
    </p:spTree>
    <p:extLst>
      <p:ext uri="{BB962C8B-B14F-4D97-AF65-F5344CB8AC3E}">
        <p14:creationId xmlns:p14="http://schemas.microsoft.com/office/powerpoint/2010/main" val="18646683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Klikk for å redigere tittelstil</a:t>
            </a:r>
          </a:p>
        </p:txBody>
      </p:sp>
      <p:sp>
        <p:nvSpPr>
          <p:cNvPr id="5" name="Plassholder for bilde 4"/>
          <p:cNvSpPr>
            <a:spLocks noGrp="1"/>
          </p:cNvSpPr>
          <p:nvPr>
            <p:ph type="pic" sz="quarter" idx="12" hasCustomPrompt="1"/>
          </p:nvPr>
        </p:nvSpPr>
        <p:spPr>
          <a:xfrm>
            <a:off x="630079" y="1584198"/>
            <a:ext cx="10909364" cy="4140959"/>
          </a:xfrm>
        </p:spPr>
        <p:txBody>
          <a:bodyPr tIns="1671743"/>
          <a:lstStyle>
            <a:lvl1pPr marL="0" indent="0" algn="ctr">
              <a:buNone/>
              <a:defRPr/>
            </a:lvl1pPr>
          </a:lstStyle>
          <a:p>
            <a:r>
              <a:rPr lang="nb-NO" dirty="0"/>
              <a:t>Sett inn bilde</a:t>
            </a:r>
          </a:p>
        </p:txBody>
      </p:sp>
    </p:spTree>
    <p:extLst>
      <p:ext uri="{BB962C8B-B14F-4D97-AF65-F5344CB8AC3E}">
        <p14:creationId xmlns:p14="http://schemas.microsoft.com/office/powerpoint/2010/main" val="33091450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tel og bilde_nytt forsøk">
    <p:spTree>
      <p:nvGrpSpPr>
        <p:cNvPr id="1" name=""/>
        <p:cNvGrpSpPr/>
        <p:nvPr/>
      </p:nvGrpSpPr>
      <p:grpSpPr>
        <a:xfrm>
          <a:off x="0" y="0"/>
          <a:ext cx="0" cy="0"/>
          <a:chOff x="0" y="0"/>
          <a:chExt cx="0" cy="0"/>
        </a:xfrm>
      </p:grpSpPr>
      <p:sp>
        <p:nvSpPr>
          <p:cNvPr id="2" name="Tittel 1"/>
          <p:cNvSpPr>
            <a:spLocks noGrp="1"/>
          </p:cNvSpPr>
          <p:nvPr>
            <p:ph type="title"/>
          </p:nvPr>
        </p:nvSpPr>
        <p:spPr>
          <a:xfrm>
            <a:off x="1273051" y="2421682"/>
            <a:ext cx="4032448" cy="1555421"/>
          </a:xfrm>
        </p:spPr>
        <p:txBody>
          <a:bodyPr/>
          <a:lstStyle/>
          <a:p>
            <a:r>
              <a:rPr lang="nb-NO" dirty="0"/>
              <a:t>Klikk for å redigere tittelstil</a:t>
            </a:r>
          </a:p>
        </p:txBody>
      </p:sp>
      <p:sp>
        <p:nvSpPr>
          <p:cNvPr id="5" name="Plassholder for bilde 4"/>
          <p:cNvSpPr>
            <a:spLocks noGrp="1"/>
          </p:cNvSpPr>
          <p:nvPr>
            <p:ph type="pic" sz="quarter" idx="12" hasCustomPrompt="1"/>
          </p:nvPr>
        </p:nvSpPr>
        <p:spPr>
          <a:xfrm>
            <a:off x="630079" y="621482"/>
            <a:ext cx="10909364" cy="5076000"/>
          </a:xfrm>
        </p:spPr>
        <p:txBody>
          <a:bodyPr tIns="1671743"/>
          <a:lstStyle>
            <a:lvl1pPr marL="0" indent="0" algn="ctr">
              <a:buNone/>
              <a:defRPr/>
            </a:lvl1pPr>
          </a:lstStyle>
          <a:p>
            <a:r>
              <a:rPr lang="nb-NO" dirty="0"/>
              <a:t>Sett inn bilde</a:t>
            </a:r>
          </a:p>
        </p:txBody>
      </p:sp>
    </p:spTree>
    <p:extLst>
      <p:ext uri="{BB962C8B-B14F-4D97-AF65-F5344CB8AC3E}">
        <p14:creationId xmlns:p14="http://schemas.microsoft.com/office/powerpoint/2010/main" val="27129564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tort bilde uten tittel">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3F61FABF-58A9-4887-A906-E8049BCD2D7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5256"/>
          <a:stretch/>
        </p:blipFill>
        <p:spPr>
          <a:xfrm>
            <a:off x="0" y="6128605"/>
            <a:ext cx="12193200" cy="730981"/>
          </a:xfrm>
          <a:prstGeom prst="rect">
            <a:avLst/>
          </a:prstGeom>
        </p:spPr>
      </p:pic>
      <p:sp>
        <p:nvSpPr>
          <p:cNvPr id="5" name="Plassholder for bilde 4"/>
          <p:cNvSpPr>
            <a:spLocks noGrp="1"/>
          </p:cNvSpPr>
          <p:nvPr>
            <p:ph type="pic" sz="quarter" idx="12" hasCustomPrompt="1"/>
          </p:nvPr>
        </p:nvSpPr>
        <p:spPr>
          <a:xfrm>
            <a:off x="630079" y="630146"/>
            <a:ext cx="10909364" cy="5076635"/>
          </a:xfrm>
        </p:spPr>
        <p:txBody>
          <a:bodyPr tIns="2100395"/>
          <a:lstStyle>
            <a:lvl1pPr marL="0" indent="0" algn="ctr">
              <a:buNone/>
              <a:defRPr/>
            </a:lvl1pPr>
          </a:lstStyle>
          <a:p>
            <a:r>
              <a:rPr lang="nb-NO" dirty="0"/>
              <a:t>Sett inn bilde</a:t>
            </a:r>
          </a:p>
        </p:txBody>
      </p:sp>
      <p:cxnSp>
        <p:nvCxnSpPr>
          <p:cNvPr id="9" name="Rett linje 8">
            <a:extLst>
              <a:ext uri="{FF2B5EF4-FFF2-40B4-BE49-F238E27FC236}">
                <a16:creationId xmlns:a16="http://schemas.microsoft.com/office/drawing/2014/main" id="{BA28871D-8A7A-4124-AEDA-F5408684C4D5}"/>
              </a:ext>
            </a:extLst>
          </p:cNvPr>
          <p:cNvCxnSpPr/>
          <p:nvPr userDrawn="1"/>
        </p:nvCxnSpPr>
        <p:spPr>
          <a:xfrm>
            <a:off x="631443" y="6088057"/>
            <a:ext cx="109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10253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kst på bakgrunnsbilde">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3F61FABF-58A9-4887-A906-E8049BCD2D7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5256"/>
          <a:stretch/>
        </p:blipFill>
        <p:spPr>
          <a:xfrm>
            <a:off x="0" y="6128605"/>
            <a:ext cx="12193200" cy="730981"/>
          </a:xfrm>
          <a:prstGeom prst="rect">
            <a:avLst/>
          </a:prstGeom>
        </p:spPr>
      </p:pic>
      <p:cxnSp>
        <p:nvCxnSpPr>
          <p:cNvPr id="9" name="Rett linje 8">
            <a:extLst>
              <a:ext uri="{FF2B5EF4-FFF2-40B4-BE49-F238E27FC236}">
                <a16:creationId xmlns:a16="http://schemas.microsoft.com/office/drawing/2014/main" id="{BA28871D-8A7A-4124-AEDA-F5408684C4D5}"/>
              </a:ext>
            </a:extLst>
          </p:cNvPr>
          <p:cNvCxnSpPr/>
          <p:nvPr userDrawn="1"/>
        </p:nvCxnSpPr>
        <p:spPr>
          <a:xfrm>
            <a:off x="631443" y="6088057"/>
            <a:ext cx="109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ittel 1">
            <a:extLst>
              <a:ext uri="{FF2B5EF4-FFF2-40B4-BE49-F238E27FC236}">
                <a16:creationId xmlns:a16="http://schemas.microsoft.com/office/drawing/2014/main" id="{3A6F750B-3E7F-4675-ABCD-CAFD220E4E5A}"/>
              </a:ext>
            </a:extLst>
          </p:cNvPr>
          <p:cNvSpPr>
            <a:spLocks noGrp="1"/>
          </p:cNvSpPr>
          <p:nvPr>
            <p:ph type="title"/>
          </p:nvPr>
        </p:nvSpPr>
        <p:spPr>
          <a:xfrm>
            <a:off x="1278151" y="2421682"/>
            <a:ext cx="3883332" cy="1424438"/>
          </a:xfrm>
        </p:spPr>
        <p:txBody>
          <a:bodyPr/>
          <a:lstStyle/>
          <a:p>
            <a:r>
              <a:rPr lang="nb-NO" dirty="0"/>
              <a:t>Klikk for å redigere tittelstil</a:t>
            </a:r>
          </a:p>
        </p:txBody>
      </p:sp>
      <p:sp>
        <p:nvSpPr>
          <p:cNvPr id="5" name="Plassholder for bilde 4"/>
          <p:cNvSpPr>
            <a:spLocks noGrp="1"/>
          </p:cNvSpPr>
          <p:nvPr>
            <p:ph type="pic" sz="quarter" idx="12" hasCustomPrompt="1"/>
          </p:nvPr>
        </p:nvSpPr>
        <p:spPr>
          <a:xfrm>
            <a:off x="630079" y="630146"/>
            <a:ext cx="10909364" cy="5076635"/>
          </a:xfrm>
        </p:spPr>
        <p:txBody>
          <a:bodyPr tIns="2100395"/>
          <a:lstStyle>
            <a:lvl1pPr marL="0" indent="0" algn="ctr">
              <a:buNone/>
              <a:defRPr/>
            </a:lvl1pPr>
          </a:lstStyle>
          <a:p>
            <a:r>
              <a:rPr lang="nb-NO" dirty="0"/>
              <a:t>Sett inn bilde</a:t>
            </a:r>
          </a:p>
        </p:txBody>
      </p:sp>
    </p:spTree>
    <p:extLst>
      <p:ext uri="{BB962C8B-B14F-4D97-AF65-F5344CB8AC3E}">
        <p14:creationId xmlns:p14="http://schemas.microsoft.com/office/powerpoint/2010/main" val="21356087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 name="Bilde 3"/>
          <p:cNvPicPr>
            <a:picLocks noChangeAspect="1"/>
          </p:cNvPicPr>
          <p:nvPr userDrawn="1"/>
        </p:nvPicPr>
        <p:blipFill rotWithShape="1">
          <a:blip r:embed="rId24" cstate="print">
            <a:extLst>
              <a:ext uri="{28A0092B-C50C-407E-A947-70E740481C1C}">
                <a14:useLocalDpi xmlns:a14="http://schemas.microsoft.com/office/drawing/2010/main" val="0"/>
              </a:ext>
            </a:extLst>
          </a:blip>
          <a:srcRect t="5256"/>
          <a:stretch/>
        </p:blipFill>
        <p:spPr>
          <a:xfrm>
            <a:off x="0" y="6128605"/>
            <a:ext cx="12193200" cy="730981"/>
          </a:xfrm>
          <a:prstGeom prst="rect">
            <a:avLst/>
          </a:prstGeom>
        </p:spPr>
      </p:pic>
      <p:graphicFrame>
        <p:nvGraphicFramePr>
          <p:cNvPr id="8" name="Objekt 7" hidden="1"/>
          <p:cNvGraphicFramePr>
            <a:graphicFrameLocks noChangeAspect="1"/>
          </p:cNvGraphicFramePr>
          <p:nvPr userDrawn="1">
            <p:custDataLst>
              <p:tags r:id="rId21"/>
            </p:custDataLst>
            <p:extLst>
              <p:ext uri="{D42A27DB-BD31-4B8C-83A1-F6EECF244321}">
                <p14:modId xmlns:p14="http://schemas.microsoft.com/office/powerpoint/2010/main" val="3382416251"/>
              </p:ext>
            </p:extLst>
          </p:nvPr>
        </p:nvGraphicFramePr>
        <p:xfrm>
          <a:off x="2118" y="1589"/>
          <a:ext cx="2117" cy="1587"/>
        </p:xfrm>
        <a:graphic>
          <a:graphicData uri="http://schemas.openxmlformats.org/presentationml/2006/ole">
            <mc:AlternateContent xmlns:mc="http://schemas.openxmlformats.org/markup-compatibility/2006">
              <mc:Choice xmlns:v="urn:schemas-microsoft-com:vml" Requires="v">
                <p:oleObj spid="_x0000_s1026" name="think-cell Slide" r:id="rId25" imgW="270" imgH="270" progId="">
                  <p:embed/>
                </p:oleObj>
              </mc:Choice>
              <mc:Fallback>
                <p:oleObj name="think-cell Slide" r:id="rId25" imgW="270" imgH="270" progId="">
                  <p:embed/>
                  <p:pic>
                    <p:nvPicPr>
                      <p:cNvPr id="8" name="Objek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18"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ssholder for tittel 1"/>
          <p:cNvSpPr>
            <a:spLocks noGrp="1"/>
          </p:cNvSpPr>
          <p:nvPr>
            <p:ph type="title"/>
            <p:custDataLst>
              <p:tags r:id="rId22"/>
            </p:custDataLst>
          </p:nvPr>
        </p:nvSpPr>
        <p:spPr>
          <a:xfrm>
            <a:off x="630079" y="565196"/>
            <a:ext cx="10909364" cy="615553"/>
          </a:xfrm>
          <a:prstGeom prst="rect">
            <a:avLst/>
          </a:prstGeom>
        </p:spPr>
        <p:txBody>
          <a:bodyPr vert="horz" lIns="0" tIns="0" rIns="0" bIns="0" rtlCol="0" anchor="t" anchorCtr="0">
            <a:spAutoFit/>
          </a:bodyPr>
          <a:lstStyle/>
          <a:p>
            <a:r>
              <a:rPr lang="nb-NO" dirty="0"/>
              <a:t>Klikk for å redigere tittelstil</a:t>
            </a:r>
          </a:p>
        </p:txBody>
      </p:sp>
      <p:sp>
        <p:nvSpPr>
          <p:cNvPr id="3" name="Plassholder for tekst 2"/>
          <p:cNvSpPr>
            <a:spLocks noGrp="1"/>
          </p:cNvSpPr>
          <p:nvPr>
            <p:ph type="body" idx="1"/>
            <p:custDataLst>
              <p:tags r:id="rId23"/>
            </p:custDataLst>
          </p:nvPr>
        </p:nvSpPr>
        <p:spPr>
          <a:xfrm>
            <a:off x="630079" y="1584198"/>
            <a:ext cx="10909364" cy="4140959"/>
          </a:xfrm>
          <a:prstGeom prst="rect">
            <a:avLst/>
          </a:prstGeom>
        </p:spPr>
        <p:txBody>
          <a:bodyPr vert="horz" lIns="0" tIns="0" rIns="0" bIns="0" rtlCol="0" anchor="t" anchorCtr="0">
            <a:normAutofit/>
          </a:bodyPr>
          <a:lstStyle/>
          <a:p>
            <a:pPr lvl="0"/>
            <a:r>
              <a:rPr lang="nb-NO" dirty="0"/>
              <a:t>Klikk for å redigere tekststiler i malen</a:t>
            </a:r>
          </a:p>
          <a:p>
            <a:pPr lvl="1"/>
            <a:r>
              <a:rPr lang="nb-NO" dirty="0"/>
              <a:t>Andre nivå</a:t>
            </a:r>
          </a:p>
        </p:txBody>
      </p:sp>
      <p:cxnSp>
        <p:nvCxnSpPr>
          <p:cNvPr id="10" name="Rett linje 9">
            <a:extLst>
              <a:ext uri="{FF2B5EF4-FFF2-40B4-BE49-F238E27FC236}">
                <a16:creationId xmlns:a16="http://schemas.microsoft.com/office/drawing/2014/main" id="{C3A54DE0-1105-4653-B025-FCF61391B912}"/>
              </a:ext>
            </a:extLst>
          </p:cNvPr>
          <p:cNvCxnSpPr/>
          <p:nvPr userDrawn="1"/>
        </p:nvCxnSpPr>
        <p:spPr>
          <a:xfrm>
            <a:off x="631443" y="6088057"/>
            <a:ext cx="109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3494721"/>
      </p:ext>
    </p:extLst>
  </p:cSld>
  <p:clrMap bg1="lt1" tx1="dk1" bg2="lt2" tx2="dk2" accent1="accent1" accent2="accent2" accent3="accent3" accent4="accent4" accent5="accent5" accent6="accent6" hlink="hlink" folHlink="folHlink"/>
  <p:sldLayoutIdLst>
    <p:sldLayoutId id="2147483660" r:id="rId1"/>
    <p:sldLayoutId id="2147483649" r:id="rId2"/>
    <p:sldLayoutId id="2147483671" r:id="rId3"/>
    <p:sldLayoutId id="2147483672" r:id="rId4"/>
    <p:sldLayoutId id="2147483650" r:id="rId5"/>
    <p:sldLayoutId id="2147483669" r:id="rId6"/>
    <p:sldLayoutId id="2147483677" r:id="rId7"/>
    <p:sldLayoutId id="2147483670" r:id="rId8"/>
    <p:sldLayoutId id="2147483675" r:id="rId9"/>
    <p:sldLayoutId id="2147483652" r:id="rId10"/>
    <p:sldLayoutId id="2147483674" r:id="rId11"/>
    <p:sldLayoutId id="2147483667" r:id="rId12"/>
    <p:sldLayoutId id="2147483668" r:id="rId13"/>
    <p:sldLayoutId id="2147483665" r:id="rId14"/>
    <p:sldLayoutId id="2147483673" r:id="rId15"/>
    <p:sldLayoutId id="2147483655" r:id="rId16"/>
    <p:sldLayoutId id="2147483676" r:id="rId17"/>
    <p:sldLayoutId id="2147483663" r:id="rId18"/>
  </p:sldLayoutIdLst>
  <p:hf hdr="0" ftr="0" dt="0"/>
  <p:txStyles>
    <p:titleStyle>
      <a:lvl1pPr algn="l" defTabSz="1088776" rtl="0" eaLnBrk="1" latinLnBrk="0" hangingPunct="1">
        <a:spcBef>
          <a:spcPct val="0"/>
        </a:spcBef>
        <a:buNone/>
        <a:defRPr sz="4000" kern="1200">
          <a:solidFill>
            <a:schemeClr val="tx1"/>
          </a:solidFill>
          <a:latin typeface="+mj-lt"/>
          <a:ea typeface="+mj-ea"/>
          <a:cs typeface="+mj-cs"/>
        </a:defRPr>
      </a:lvl1pPr>
    </p:titleStyle>
    <p:bodyStyle>
      <a:lvl1pPr marL="408291" indent="-408291" algn="l" defTabSz="1088776" rtl="0" eaLnBrk="1" latinLnBrk="0" hangingPunct="1">
        <a:spcBef>
          <a:spcPts val="0"/>
        </a:spcBef>
        <a:buClr>
          <a:srgbClr val="C03539"/>
        </a:buClr>
        <a:buFont typeface="Arial" pitchFamily="34" charset="0"/>
        <a:buChar char="•"/>
        <a:defRPr sz="3200" kern="1200">
          <a:solidFill>
            <a:schemeClr val="tx1"/>
          </a:solidFill>
          <a:latin typeface="+mn-lt"/>
          <a:ea typeface="+mn-ea"/>
          <a:cs typeface="+mn-cs"/>
        </a:defRPr>
      </a:lvl1pPr>
      <a:lvl2pPr marL="739083" indent="-340243" algn="l" defTabSz="1088776" rtl="0" eaLnBrk="1" latinLnBrk="0" hangingPunct="1">
        <a:spcBef>
          <a:spcPct val="20000"/>
        </a:spcBef>
        <a:buClr>
          <a:srgbClr val="C03539"/>
        </a:buClr>
        <a:buSzPct val="80000"/>
        <a:buFont typeface="Wingdings" pitchFamily="2" charset="2"/>
        <a:buChar char="§"/>
        <a:defRPr sz="3200" kern="1200">
          <a:solidFill>
            <a:schemeClr val="tx1"/>
          </a:solidFill>
          <a:latin typeface="+mn-lt"/>
          <a:ea typeface="+mn-ea"/>
          <a:cs typeface="+mn-cs"/>
        </a:defRPr>
      </a:lvl2pPr>
      <a:lvl3pPr marL="1171946" indent="-272194" algn="l" defTabSz="1088776" rtl="0" eaLnBrk="1" latinLnBrk="0" hangingPunct="1">
        <a:spcBef>
          <a:spcPct val="20000"/>
        </a:spcBef>
        <a:buClr>
          <a:srgbClr val="C03539"/>
        </a:buClr>
        <a:buFont typeface="Arial" pitchFamily="34" charset="0"/>
        <a:buChar char="•"/>
        <a:defRPr sz="3200" kern="1200">
          <a:solidFill>
            <a:schemeClr val="tx1"/>
          </a:solidFill>
          <a:latin typeface="+mn-lt"/>
          <a:ea typeface="+mn-ea"/>
          <a:cs typeface="+mn-cs"/>
        </a:defRPr>
      </a:lvl3pPr>
      <a:lvl4pPr marL="1595359" indent="-272194" algn="l" defTabSz="1088776" rtl="0" eaLnBrk="1" latinLnBrk="0" hangingPunct="1">
        <a:spcBef>
          <a:spcPct val="20000"/>
        </a:spcBef>
        <a:buClr>
          <a:srgbClr val="C03539"/>
        </a:buClr>
        <a:buFont typeface="Arial" pitchFamily="34" charset="0"/>
        <a:buChar char="–"/>
        <a:tabLst>
          <a:tab pos="1495177" algn="l"/>
        </a:tabLst>
        <a:defRPr sz="3200" kern="1200">
          <a:solidFill>
            <a:schemeClr val="tx1"/>
          </a:solidFill>
          <a:latin typeface="+mn-lt"/>
          <a:ea typeface="+mn-ea"/>
          <a:cs typeface="+mn-cs"/>
        </a:defRPr>
      </a:lvl4pPr>
      <a:lvl5pPr marL="2033894" indent="-272194" algn="l" defTabSz="1088776" rtl="0" eaLnBrk="1" latinLnBrk="0" hangingPunct="1">
        <a:spcBef>
          <a:spcPct val="20000"/>
        </a:spcBef>
        <a:buClr>
          <a:srgbClr val="C03539"/>
        </a:buClr>
        <a:buFont typeface="Arial" pitchFamily="34" charset="0"/>
        <a:buChar char="»"/>
        <a:defRPr sz="3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nb-NO"/>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10.xml"/><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10.xml"/><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9.xml"/><Relationship Id="rId1" Type="http://schemas.openxmlformats.org/officeDocument/2006/relationships/slideLayout" Target="../slideLayouts/slideLayout10.xml"/><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10.xml"/><Relationship Id="rId4" Type="http://schemas.openxmlformats.org/officeDocument/2006/relationships/image" Target="../media/image34.png"/></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0.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3.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4.xm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6.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7.xm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8.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9.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1.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2.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3.xml"/><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4.xml"/><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5.xml"/><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6.xml"/><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7.xml"/><Relationship Id="rId1" Type="http://schemas.openxmlformats.org/officeDocument/2006/relationships/slideLayout" Target="../slideLayouts/slideLayout10.xml"/><Relationship Id="rId4" Type="http://schemas.openxmlformats.org/officeDocument/2006/relationships/image" Target="../media/image66.png"/></Relationships>
</file>

<file path=ppt/slides/_rels/slide5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8.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59.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12.png"/></Relationships>
</file>

<file path=ppt/slides/_rels/slide6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60.xml"/><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1.xml"/><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2.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63.xml"/><Relationship Id="rId1" Type="http://schemas.openxmlformats.org/officeDocument/2006/relationships/slideLayout" Target="../slideLayouts/slideLayout17.xml"/><Relationship Id="rId6" Type="http://schemas.openxmlformats.org/officeDocument/2006/relationships/image" Target="../media/image4.png"/><Relationship Id="rId5" Type="http://schemas.openxmlformats.org/officeDocument/2006/relationships/image" Target="../media/image6.pn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hyperlink" Target="https://www.udi.no/en/statistics-and-analysis/statistics/" TargetMode="External"/><Relationship Id="rId2" Type="http://schemas.openxmlformats.org/officeDocument/2006/relationships/notesSlide" Target="../notesSlides/notesSlide7.xml"/><Relationship Id="rId1" Type="http://schemas.openxmlformats.org/officeDocument/2006/relationships/slideLayout" Target="../slideLayouts/slideLayout11.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3375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0D3559B1-8DB4-43DC-96C9-985BA44BB9AA}"/>
              </a:ext>
            </a:extLst>
          </p:cNvPr>
          <p:cNvSpPr>
            <a:spLocks noGrp="1"/>
          </p:cNvSpPr>
          <p:nvPr>
            <p:ph type="title"/>
          </p:nvPr>
        </p:nvSpPr>
        <p:spPr/>
        <p:txBody>
          <a:bodyPr/>
          <a:lstStyle/>
          <a:p>
            <a:r>
              <a:rPr lang="nb-NO" dirty="0"/>
              <a:t>Asylprosessen i Norge</a:t>
            </a:r>
          </a:p>
        </p:txBody>
      </p:sp>
      <p:pic>
        <p:nvPicPr>
          <p:cNvPr id="3" name="Plassholder for bilde 2" descr="Illustrasjon av asylprosessen">
            <a:extLst>
              <a:ext uri="{FF2B5EF4-FFF2-40B4-BE49-F238E27FC236}">
                <a16:creationId xmlns:a16="http://schemas.microsoft.com/office/drawing/2014/main" id="{ADEB8E17-9854-493B-9125-0AF80EAE9FE3}"/>
              </a:ext>
            </a:extLst>
          </p:cNvPr>
          <p:cNvPicPr>
            <a:picLocks noGrp="1" noChangeAspect="1"/>
          </p:cNvPicPr>
          <p:nvPr>
            <p:ph type="pic" sz="quarter" idx="12"/>
          </p:nvPr>
        </p:nvPicPr>
        <p:blipFill rotWithShape="1">
          <a:blip r:embed="rId3">
            <a:extLst>
              <a:ext uri="{28A0092B-C50C-407E-A947-70E740481C1C}">
                <a14:useLocalDpi xmlns:a14="http://schemas.microsoft.com/office/drawing/2010/main" val="0"/>
              </a:ext>
            </a:extLst>
          </a:blip>
          <a:srcRect l="-845" t="21386" r="-845" b="21386"/>
          <a:stretch/>
        </p:blipFill>
        <p:spPr>
          <a:xfrm>
            <a:off x="630079" y="1269554"/>
            <a:ext cx="10909364" cy="4140959"/>
          </a:xfrm>
        </p:spPr>
      </p:pic>
    </p:spTree>
    <p:extLst>
      <p:ext uri="{BB962C8B-B14F-4D97-AF65-F5344CB8AC3E}">
        <p14:creationId xmlns:p14="http://schemas.microsoft.com/office/powerpoint/2010/main" val="15233504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ssholder for bilde 6">
            <a:extLst>
              <a:ext uri="{FF2B5EF4-FFF2-40B4-BE49-F238E27FC236}">
                <a16:creationId xmlns:a16="http://schemas.microsoft.com/office/drawing/2014/main" id="{E173B840-984B-4A09-AF61-EDDF62CACCA8}"/>
              </a:ext>
              <a:ext uri="{C183D7F6-B498-43B3-948B-1728B52AA6E4}">
                <adec:decorative xmlns:adec="http://schemas.microsoft.com/office/drawing/2017/decorative" val="1"/>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l="4601" r="4601"/>
          <a:stretch>
            <a:fillRect/>
          </a:stretch>
        </p:blipFill>
        <p:spPr/>
      </p:pic>
      <p:sp>
        <p:nvSpPr>
          <p:cNvPr id="4" name="Tittel 3">
            <a:extLst>
              <a:ext uri="{FF2B5EF4-FFF2-40B4-BE49-F238E27FC236}">
                <a16:creationId xmlns:a16="http://schemas.microsoft.com/office/drawing/2014/main" id="{4D755D44-9CAF-4D6B-AD39-3AC81F201A11}"/>
              </a:ext>
            </a:extLst>
          </p:cNvPr>
          <p:cNvSpPr>
            <a:spLocks noGrp="1"/>
          </p:cNvSpPr>
          <p:nvPr>
            <p:ph type="title"/>
          </p:nvPr>
        </p:nvSpPr>
        <p:spPr>
          <a:xfrm>
            <a:off x="1345059" y="2152800"/>
            <a:ext cx="3883332" cy="2031325"/>
          </a:xfrm>
        </p:spPr>
        <p:txBody>
          <a:bodyPr/>
          <a:lstStyle/>
          <a:p>
            <a:r>
              <a:rPr lang="nb-NO" sz="6600" dirty="0">
                <a:solidFill>
                  <a:schemeClr val="bg1"/>
                </a:solidFill>
              </a:rPr>
              <a:t>Hvem møter du?</a:t>
            </a:r>
          </a:p>
        </p:txBody>
      </p:sp>
    </p:spTree>
    <p:extLst>
      <p:ext uri="{BB962C8B-B14F-4D97-AF65-F5344CB8AC3E}">
        <p14:creationId xmlns:p14="http://schemas.microsoft.com/office/powerpoint/2010/main" val="19214857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18CE9FE0-B7EC-4187-8ECD-269E4DD97156}"/>
              </a:ext>
            </a:extLst>
          </p:cNvPr>
          <p:cNvSpPr>
            <a:spLocks noGrp="1"/>
          </p:cNvSpPr>
          <p:nvPr>
            <p:ph type="title"/>
          </p:nvPr>
        </p:nvSpPr>
        <p:spPr/>
        <p:txBody>
          <a:bodyPr/>
          <a:lstStyle/>
          <a:p>
            <a:r>
              <a:rPr lang="nb-NO" dirty="0"/>
              <a:t>Politiet</a:t>
            </a:r>
          </a:p>
        </p:txBody>
      </p:sp>
      <p:pic>
        <p:nvPicPr>
          <p:cNvPr id="8" name="Plassholder for innhold 7" descr="Bilde av en politimann">
            <a:extLst>
              <a:ext uri="{FF2B5EF4-FFF2-40B4-BE49-F238E27FC236}">
                <a16:creationId xmlns:a16="http://schemas.microsoft.com/office/drawing/2014/main" id="{778C3AE4-0C1B-4A41-94DC-185A81D6A117}"/>
              </a:ext>
            </a:extLst>
          </p:cNvPr>
          <p:cNvPicPr>
            <a:picLocks noGrp="1" noChangeAspect="1"/>
          </p:cNvPicPr>
          <p:nvPr>
            <p:ph idx="15"/>
          </p:nvPr>
        </p:nvPicPr>
        <p:blipFill>
          <a:blip r:embed="rId3">
            <a:extLst>
              <a:ext uri="{28A0092B-C50C-407E-A947-70E740481C1C}">
                <a14:useLocalDpi xmlns:a14="http://schemas.microsoft.com/office/drawing/2010/main" val="0"/>
              </a:ext>
            </a:extLst>
          </a:blip>
          <a:stretch>
            <a:fillRect/>
          </a:stretch>
        </p:blipFill>
        <p:spPr>
          <a:xfrm>
            <a:off x="1659388" y="1584325"/>
            <a:ext cx="3162987" cy="4140200"/>
          </a:xfrm>
        </p:spPr>
      </p:pic>
      <p:pic>
        <p:nvPicPr>
          <p:cNvPr id="10" name="Plassholder for innhold 9">
            <a:extLst>
              <a:ext uri="{FF2B5EF4-FFF2-40B4-BE49-F238E27FC236}">
                <a16:creationId xmlns:a16="http://schemas.microsoft.com/office/drawing/2014/main" id="{8FA9ACAA-FE63-4D27-BF47-0BCE1267B08A}"/>
              </a:ext>
              <a:ext uri="{C183D7F6-B498-43B3-948B-1728B52AA6E4}">
                <adec:decorative xmlns:adec="http://schemas.microsoft.com/office/drawing/2017/decorative" val="1"/>
              </a:ext>
            </a:extLst>
          </p:cNvPr>
          <p:cNvPicPr>
            <a:picLocks noGrp="1" noChangeAspect="1"/>
          </p:cNvPicPr>
          <p:nvPr>
            <p:ph sz="quarter" idx="16"/>
          </p:nvPr>
        </p:nvPicPr>
        <p:blipFill>
          <a:blip r:embed="rId4">
            <a:extLst>
              <a:ext uri="{28A0092B-C50C-407E-A947-70E740481C1C}">
                <a14:useLocalDpi xmlns:a14="http://schemas.microsoft.com/office/drawing/2010/main" val="0"/>
              </a:ext>
            </a:extLst>
          </a:blip>
          <a:stretch>
            <a:fillRect/>
          </a:stretch>
        </p:blipFill>
        <p:spPr>
          <a:xfrm>
            <a:off x="6827204" y="1584325"/>
            <a:ext cx="4203380" cy="4140200"/>
          </a:xfrm>
        </p:spPr>
      </p:pic>
    </p:spTree>
    <p:extLst>
      <p:ext uri="{BB962C8B-B14F-4D97-AF65-F5344CB8AC3E}">
        <p14:creationId xmlns:p14="http://schemas.microsoft.com/office/powerpoint/2010/main" val="34629938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1C9471BA-DBFC-4547-9463-F511E4B7694D}"/>
              </a:ext>
            </a:extLst>
          </p:cNvPr>
          <p:cNvSpPr>
            <a:spLocks noGrp="1"/>
          </p:cNvSpPr>
          <p:nvPr>
            <p:ph type="title"/>
          </p:nvPr>
        </p:nvSpPr>
        <p:spPr/>
        <p:txBody>
          <a:bodyPr/>
          <a:lstStyle/>
          <a:p>
            <a:r>
              <a:rPr lang="nb-NO" dirty="0"/>
              <a:t>Tolk</a:t>
            </a:r>
          </a:p>
        </p:txBody>
      </p:sp>
      <p:pic>
        <p:nvPicPr>
          <p:cNvPr id="11" name="Plassholder for innhold 10" descr="Bilde av en tolk">
            <a:extLst>
              <a:ext uri="{FF2B5EF4-FFF2-40B4-BE49-F238E27FC236}">
                <a16:creationId xmlns:a16="http://schemas.microsoft.com/office/drawing/2014/main" id="{E562F9BD-178D-4E33-98AA-CF79B2EF360C}"/>
              </a:ext>
            </a:extLst>
          </p:cNvPr>
          <p:cNvPicPr>
            <a:picLocks noGrp="1" noChangeAspect="1"/>
          </p:cNvPicPr>
          <p:nvPr>
            <p:ph idx="15"/>
          </p:nvPr>
        </p:nvPicPr>
        <p:blipFill>
          <a:blip r:embed="rId3">
            <a:extLst>
              <a:ext uri="{28A0092B-C50C-407E-A947-70E740481C1C}">
                <a14:useLocalDpi xmlns:a14="http://schemas.microsoft.com/office/drawing/2010/main" val="0"/>
              </a:ext>
            </a:extLst>
          </a:blip>
          <a:stretch>
            <a:fillRect/>
          </a:stretch>
        </p:blipFill>
        <p:spPr>
          <a:xfrm>
            <a:off x="1247452" y="1584325"/>
            <a:ext cx="3986859" cy="4140200"/>
          </a:xfrm>
        </p:spPr>
      </p:pic>
      <p:pic>
        <p:nvPicPr>
          <p:cNvPr id="9" name="Plassholder for innhold 8">
            <a:extLst>
              <a:ext uri="{FF2B5EF4-FFF2-40B4-BE49-F238E27FC236}">
                <a16:creationId xmlns:a16="http://schemas.microsoft.com/office/drawing/2014/main" id="{DB2A4937-D7A0-4F51-A57D-795CA1DF18FD}"/>
              </a:ext>
              <a:ext uri="{C183D7F6-B498-43B3-948B-1728B52AA6E4}">
                <adec:decorative xmlns:adec="http://schemas.microsoft.com/office/drawing/2017/decorative" val="1"/>
              </a:ext>
            </a:extLst>
          </p:cNvPr>
          <p:cNvPicPr>
            <a:picLocks noGrp="1" noChangeAspect="1"/>
          </p:cNvPicPr>
          <p:nvPr>
            <p:ph sz="quarter" idx="16"/>
          </p:nvPr>
        </p:nvPicPr>
        <p:blipFill>
          <a:blip r:embed="rId4">
            <a:extLst>
              <a:ext uri="{28A0092B-C50C-407E-A947-70E740481C1C}">
                <a14:useLocalDpi xmlns:a14="http://schemas.microsoft.com/office/drawing/2010/main" val="0"/>
              </a:ext>
            </a:extLst>
          </a:blip>
          <a:stretch>
            <a:fillRect/>
          </a:stretch>
        </p:blipFill>
        <p:spPr>
          <a:xfrm>
            <a:off x="6824370" y="1584325"/>
            <a:ext cx="4209048" cy="4140200"/>
          </a:xfrm>
        </p:spPr>
      </p:pic>
    </p:spTree>
    <p:extLst>
      <p:ext uri="{BB962C8B-B14F-4D97-AF65-F5344CB8AC3E}">
        <p14:creationId xmlns:p14="http://schemas.microsoft.com/office/powerpoint/2010/main" val="29948119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1C9471BA-DBFC-4547-9463-F511E4B7694D}"/>
              </a:ext>
            </a:extLst>
          </p:cNvPr>
          <p:cNvSpPr>
            <a:spLocks noGrp="1"/>
          </p:cNvSpPr>
          <p:nvPr>
            <p:ph type="title"/>
          </p:nvPr>
        </p:nvSpPr>
        <p:spPr/>
        <p:txBody>
          <a:bodyPr/>
          <a:lstStyle/>
          <a:p>
            <a:r>
              <a:rPr lang="nb-NO" dirty="0"/>
              <a:t>Asylmottak</a:t>
            </a:r>
          </a:p>
        </p:txBody>
      </p:sp>
      <p:pic>
        <p:nvPicPr>
          <p:cNvPr id="8" name="Plassholder for innhold 7" descr="Bilde av et asylmottak">
            <a:extLst>
              <a:ext uri="{FF2B5EF4-FFF2-40B4-BE49-F238E27FC236}">
                <a16:creationId xmlns:a16="http://schemas.microsoft.com/office/drawing/2014/main" id="{4FEB6D64-A6C9-4AEA-8827-C717B28BAB96}"/>
              </a:ext>
            </a:extLst>
          </p:cNvPr>
          <p:cNvPicPr>
            <a:picLocks noGrp="1" noChangeAspect="1"/>
          </p:cNvPicPr>
          <p:nvPr>
            <p:ph idx="15"/>
          </p:nvPr>
        </p:nvPicPr>
        <p:blipFill>
          <a:blip r:embed="rId3">
            <a:extLst>
              <a:ext uri="{28A0092B-C50C-407E-A947-70E740481C1C}">
                <a14:useLocalDpi xmlns:a14="http://schemas.microsoft.com/office/drawing/2010/main" val="0"/>
              </a:ext>
            </a:extLst>
          </a:blip>
          <a:stretch>
            <a:fillRect/>
          </a:stretch>
        </p:blipFill>
        <p:spPr>
          <a:xfrm>
            <a:off x="912552" y="1898006"/>
            <a:ext cx="5185036" cy="3187972"/>
          </a:xfrm>
        </p:spPr>
      </p:pic>
      <p:pic>
        <p:nvPicPr>
          <p:cNvPr id="3" name="Plassholder for innhold 2">
            <a:extLst>
              <a:ext uri="{FF2B5EF4-FFF2-40B4-BE49-F238E27FC236}">
                <a16:creationId xmlns:a16="http://schemas.microsoft.com/office/drawing/2014/main" id="{88873573-C0FE-4430-9B54-59E3F4C01597}"/>
              </a:ext>
              <a:ext uri="{C183D7F6-B498-43B3-948B-1728B52AA6E4}">
                <adec:decorative xmlns:adec="http://schemas.microsoft.com/office/drawing/2017/decorative" val="1"/>
              </a:ext>
            </a:extLst>
          </p:cNvPr>
          <p:cNvPicPr>
            <a:picLocks noGrp="1" noChangeAspect="1"/>
          </p:cNvPicPr>
          <p:nvPr>
            <p:ph sz="quarter" idx="16"/>
          </p:nvPr>
        </p:nvPicPr>
        <p:blipFill>
          <a:blip r:embed="rId4">
            <a:extLst>
              <a:ext uri="{28A0092B-C50C-407E-A947-70E740481C1C}">
                <a14:useLocalDpi xmlns:a14="http://schemas.microsoft.com/office/drawing/2010/main" val="0"/>
              </a:ext>
            </a:extLst>
          </a:blip>
          <a:stretch>
            <a:fillRect/>
          </a:stretch>
        </p:blipFill>
        <p:spPr>
          <a:xfrm>
            <a:off x="6821579" y="1584325"/>
            <a:ext cx="4214630" cy="4140200"/>
          </a:xfrm>
        </p:spPr>
      </p:pic>
    </p:spTree>
    <p:extLst>
      <p:ext uri="{BB962C8B-B14F-4D97-AF65-F5344CB8AC3E}">
        <p14:creationId xmlns:p14="http://schemas.microsoft.com/office/powerpoint/2010/main" val="6523084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1C9471BA-DBFC-4547-9463-F511E4B7694D}"/>
              </a:ext>
            </a:extLst>
          </p:cNvPr>
          <p:cNvSpPr>
            <a:spLocks noGrp="1"/>
          </p:cNvSpPr>
          <p:nvPr>
            <p:ph type="title"/>
          </p:nvPr>
        </p:nvSpPr>
        <p:spPr/>
        <p:txBody>
          <a:bodyPr/>
          <a:lstStyle/>
          <a:p>
            <a:r>
              <a:rPr lang="nb-NO" dirty="0"/>
              <a:t>NOAS</a:t>
            </a:r>
          </a:p>
        </p:txBody>
      </p:sp>
      <p:pic>
        <p:nvPicPr>
          <p:cNvPr id="8" name="Plassholder for innhold 7" descr="Bilde av en ansatt i NOAS">
            <a:extLst>
              <a:ext uri="{FF2B5EF4-FFF2-40B4-BE49-F238E27FC236}">
                <a16:creationId xmlns:a16="http://schemas.microsoft.com/office/drawing/2014/main" id="{2ED30614-6148-42CD-9E71-EB7CAB683CDF}"/>
              </a:ext>
            </a:extLst>
          </p:cNvPr>
          <p:cNvPicPr>
            <a:picLocks noGrp="1" noChangeAspect="1"/>
          </p:cNvPicPr>
          <p:nvPr>
            <p:ph idx="15"/>
          </p:nvPr>
        </p:nvPicPr>
        <p:blipFill>
          <a:blip r:embed="rId3">
            <a:extLst>
              <a:ext uri="{28A0092B-C50C-407E-A947-70E740481C1C}">
                <a14:useLocalDpi xmlns:a14="http://schemas.microsoft.com/office/drawing/2010/main" val="0"/>
              </a:ext>
            </a:extLst>
          </a:blip>
          <a:stretch>
            <a:fillRect/>
          </a:stretch>
        </p:blipFill>
        <p:spPr>
          <a:xfrm>
            <a:off x="1392512" y="1584325"/>
            <a:ext cx="3696739" cy="4140200"/>
          </a:xfrm>
        </p:spPr>
      </p:pic>
      <p:pic>
        <p:nvPicPr>
          <p:cNvPr id="3" name="Plassholder for innhold 2">
            <a:extLst>
              <a:ext uri="{FF2B5EF4-FFF2-40B4-BE49-F238E27FC236}">
                <a16:creationId xmlns:a16="http://schemas.microsoft.com/office/drawing/2014/main" id="{9D4BF5FF-B302-4E4A-B3E5-C10D617DCCED}"/>
              </a:ext>
              <a:ext uri="{C183D7F6-B498-43B3-948B-1728B52AA6E4}">
                <adec:decorative xmlns:adec="http://schemas.microsoft.com/office/drawing/2017/decorative" val="1"/>
              </a:ext>
            </a:extLst>
          </p:cNvPr>
          <p:cNvPicPr>
            <a:picLocks noGrp="1" noChangeAspect="1"/>
          </p:cNvPicPr>
          <p:nvPr>
            <p:ph sz="quarter" idx="16"/>
          </p:nvPr>
        </p:nvPicPr>
        <p:blipFill>
          <a:blip r:embed="rId4">
            <a:extLst>
              <a:ext uri="{28A0092B-C50C-407E-A947-70E740481C1C}">
                <a14:useLocalDpi xmlns:a14="http://schemas.microsoft.com/office/drawing/2010/main" val="0"/>
              </a:ext>
            </a:extLst>
          </a:blip>
          <a:stretch>
            <a:fillRect/>
          </a:stretch>
        </p:blipFill>
        <p:spPr>
          <a:xfrm>
            <a:off x="6824370" y="1584325"/>
            <a:ext cx="4209048" cy="4140200"/>
          </a:xfrm>
        </p:spPr>
      </p:pic>
    </p:spTree>
    <p:extLst>
      <p:ext uri="{BB962C8B-B14F-4D97-AF65-F5344CB8AC3E}">
        <p14:creationId xmlns:p14="http://schemas.microsoft.com/office/powerpoint/2010/main" val="34511883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1C9471BA-DBFC-4547-9463-F511E4B7694D}"/>
              </a:ext>
            </a:extLst>
          </p:cNvPr>
          <p:cNvSpPr>
            <a:spLocks noGrp="1"/>
          </p:cNvSpPr>
          <p:nvPr>
            <p:ph type="title"/>
          </p:nvPr>
        </p:nvSpPr>
        <p:spPr/>
        <p:txBody>
          <a:bodyPr/>
          <a:lstStyle/>
          <a:p>
            <a:r>
              <a:rPr lang="nb-NO" dirty="0"/>
              <a:t>UDI</a:t>
            </a:r>
          </a:p>
        </p:txBody>
      </p:sp>
      <p:pic>
        <p:nvPicPr>
          <p:cNvPr id="8" name="Plassholder for innhold 7" descr="Bilde av en saksbehandler i UDI">
            <a:extLst>
              <a:ext uri="{FF2B5EF4-FFF2-40B4-BE49-F238E27FC236}">
                <a16:creationId xmlns:a16="http://schemas.microsoft.com/office/drawing/2014/main" id="{FA5ED9B8-0C67-4184-8EA1-FDB167E9F1A7}"/>
              </a:ext>
            </a:extLst>
          </p:cNvPr>
          <p:cNvPicPr>
            <a:picLocks noGrp="1" noChangeAspect="1"/>
          </p:cNvPicPr>
          <p:nvPr>
            <p:ph idx="15"/>
          </p:nvPr>
        </p:nvPicPr>
        <p:blipFill>
          <a:blip r:embed="rId3">
            <a:extLst>
              <a:ext uri="{28A0092B-C50C-407E-A947-70E740481C1C}">
                <a14:useLocalDpi xmlns:a14="http://schemas.microsoft.com/office/drawing/2010/main" val="0"/>
              </a:ext>
            </a:extLst>
          </a:blip>
          <a:stretch>
            <a:fillRect/>
          </a:stretch>
        </p:blipFill>
        <p:spPr>
          <a:xfrm>
            <a:off x="630238" y="2090257"/>
            <a:ext cx="5221287" cy="3128335"/>
          </a:xfrm>
        </p:spPr>
      </p:pic>
      <p:pic>
        <p:nvPicPr>
          <p:cNvPr id="3" name="Plassholder for innhold 2">
            <a:extLst>
              <a:ext uri="{FF2B5EF4-FFF2-40B4-BE49-F238E27FC236}">
                <a16:creationId xmlns:a16="http://schemas.microsoft.com/office/drawing/2014/main" id="{E36A2DDC-8168-4D3B-B847-4634566F9BF2}"/>
              </a:ext>
              <a:ext uri="{C183D7F6-B498-43B3-948B-1728B52AA6E4}">
                <adec:decorative xmlns:adec="http://schemas.microsoft.com/office/drawing/2017/decorative" val="1"/>
              </a:ext>
            </a:extLst>
          </p:cNvPr>
          <p:cNvPicPr>
            <a:picLocks noGrp="1" noChangeAspect="1"/>
          </p:cNvPicPr>
          <p:nvPr>
            <p:ph sz="quarter" idx="16"/>
          </p:nvPr>
        </p:nvPicPr>
        <p:blipFill>
          <a:blip r:embed="rId4">
            <a:extLst>
              <a:ext uri="{28A0092B-C50C-407E-A947-70E740481C1C}">
                <a14:useLocalDpi xmlns:a14="http://schemas.microsoft.com/office/drawing/2010/main" val="0"/>
              </a:ext>
            </a:extLst>
          </a:blip>
          <a:stretch>
            <a:fillRect/>
          </a:stretch>
        </p:blipFill>
        <p:spPr>
          <a:xfrm>
            <a:off x="6824370" y="1584325"/>
            <a:ext cx="4209048" cy="4140200"/>
          </a:xfrm>
        </p:spPr>
      </p:pic>
    </p:spTree>
    <p:extLst>
      <p:ext uri="{BB962C8B-B14F-4D97-AF65-F5344CB8AC3E}">
        <p14:creationId xmlns:p14="http://schemas.microsoft.com/office/powerpoint/2010/main" val="6389973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1C9471BA-DBFC-4547-9463-F511E4B7694D}"/>
              </a:ext>
            </a:extLst>
          </p:cNvPr>
          <p:cNvSpPr>
            <a:spLocks noGrp="1"/>
          </p:cNvSpPr>
          <p:nvPr>
            <p:ph type="title"/>
          </p:nvPr>
        </p:nvSpPr>
        <p:spPr/>
        <p:txBody>
          <a:bodyPr/>
          <a:lstStyle/>
          <a:p>
            <a:r>
              <a:rPr lang="nb-NO" dirty="0"/>
              <a:t>Advokat</a:t>
            </a:r>
          </a:p>
        </p:txBody>
      </p:sp>
      <p:pic>
        <p:nvPicPr>
          <p:cNvPr id="8" name="Plassholder for innhold 7" descr="Bilde av en advokat">
            <a:extLst>
              <a:ext uri="{FF2B5EF4-FFF2-40B4-BE49-F238E27FC236}">
                <a16:creationId xmlns:a16="http://schemas.microsoft.com/office/drawing/2014/main" id="{8406A825-C946-4A89-8767-A46B6C0DB0A7}"/>
              </a:ext>
            </a:extLst>
          </p:cNvPr>
          <p:cNvPicPr>
            <a:picLocks noGrp="1" noChangeAspect="1"/>
          </p:cNvPicPr>
          <p:nvPr>
            <p:ph idx="15"/>
          </p:nvPr>
        </p:nvPicPr>
        <p:blipFill>
          <a:blip r:embed="rId3">
            <a:extLst>
              <a:ext uri="{28A0092B-C50C-407E-A947-70E740481C1C}">
                <a14:useLocalDpi xmlns:a14="http://schemas.microsoft.com/office/drawing/2010/main" val="0"/>
              </a:ext>
            </a:extLst>
          </a:blip>
          <a:stretch>
            <a:fillRect/>
          </a:stretch>
        </p:blipFill>
        <p:spPr>
          <a:xfrm>
            <a:off x="1691432" y="1584325"/>
            <a:ext cx="3098898" cy="4140200"/>
          </a:xfrm>
        </p:spPr>
      </p:pic>
      <p:pic>
        <p:nvPicPr>
          <p:cNvPr id="3" name="Plassholder for innhold 2">
            <a:extLst>
              <a:ext uri="{FF2B5EF4-FFF2-40B4-BE49-F238E27FC236}">
                <a16:creationId xmlns:a16="http://schemas.microsoft.com/office/drawing/2014/main" id="{90587752-3044-4D3F-819B-8F7B01C2A4D1}"/>
              </a:ext>
              <a:ext uri="{C183D7F6-B498-43B3-948B-1728B52AA6E4}">
                <adec:decorative xmlns:adec="http://schemas.microsoft.com/office/drawing/2017/decorative" val="1"/>
              </a:ext>
            </a:extLst>
          </p:cNvPr>
          <p:cNvPicPr>
            <a:picLocks noGrp="1" noChangeAspect="1"/>
          </p:cNvPicPr>
          <p:nvPr>
            <p:ph sz="quarter" idx="16"/>
          </p:nvPr>
        </p:nvPicPr>
        <p:blipFill>
          <a:blip r:embed="rId4">
            <a:extLst>
              <a:ext uri="{28A0092B-C50C-407E-A947-70E740481C1C}">
                <a14:useLocalDpi xmlns:a14="http://schemas.microsoft.com/office/drawing/2010/main" val="0"/>
              </a:ext>
            </a:extLst>
          </a:blip>
          <a:stretch>
            <a:fillRect/>
          </a:stretch>
        </p:blipFill>
        <p:spPr>
          <a:xfrm>
            <a:off x="6827204" y="1584325"/>
            <a:ext cx="4203380" cy="4140200"/>
          </a:xfrm>
        </p:spPr>
      </p:pic>
    </p:spTree>
    <p:extLst>
      <p:ext uri="{BB962C8B-B14F-4D97-AF65-F5344CB8AC3E}">
        <p14:creationId xmlns:p14="http://schemas.microsoft.com/office/powerpoint/2010/main" val="11019623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1C9471BA-DBFC-4547-9463-F511E4B7694D}"/>
              </a:ext>
            </a:extLst>
          </p:cNvPr>
          <p:cNvSpPr>
            <a:spLocks noGrp="1"/>
          </p:cNvSpPr>
          <p:nvPr>
            <p:ph type="title"/>
          </p:nvPr>
        </p:nvSpPr>
        <p:spPr/>
        <p:txBody>
          <a:bodyPr/>
          <a:lstStyle/>
          <a:p>
            <a:r>
              <a:rPr lang="nb-NO" dirty="0" err="1"/>
              <a:t>IMDi</a:t>
            </a:r>
            <a:endParaRPr lang="nb-NO" dirty="0"/>
          </a:p>
        </p:txBody>
      </p:sp>
      <p:pic>
        <p:nvPicPr>
          <p:cNvPr id="8" name="Plassholder for innhold 7" descr="Bilde av en stue">
            <a:extLst>
              <a:ext uri="{FF2B5EF4-FFF2-40B4-BE49-F238E27FC236}">
                <a16:creationId xmlns:a16="http://schemas.microsoft.com/office/drawing/2014/main" id="{3D72160B-2209-443E-AB72-C91BCC156821}"/>
              </a:ext>
            </a:extLst>
          </p:cNvPr>
          <p:cNvPicPr>
            <a:picLocks noGrp="1" noChangeAspect="1"/>
          </p:cNvPicPr>
          <p:nvPr>
            <p:ph idx="15"/>
          </p:nvPr>
        </p:nvPicPr>
        <p:blipFill>
          <a:blip r:embed="rId3">
            <a:extLst>
              <a:ext uri="{28A0092B-C50C-407E-A947-70E740481C1C}">
                <a14:useLocalDpi xmlns:a14="http://schemas.microsoft.com/office/drawing/2010/main" val="0"/>
              </a:ext>
            </a:extLst>
          </a:blip>
          <a:stretch>
            <a:fillRect/>
          </a:stretch>
        </p:blipFill>
        <p:spPr>
          <a:xfrm>
            <a:off x="630238" y="2215704"/>
            <a:ext cx="5221287" cy="2877442"/>
          </a:xfrm>
        </p:spPr>
      </p:pic>
      <p:pic>
        <p:nvPicPr>
          <p:cNvPr id="3" name="Plassholder for innhold 2">
            <a:extLst>
              <a:ext uri="{FF2B5EF4-FFF2-40B4-BE49-F238E27FC236}">
                <a16:creationId xmlns:a16="http://schemas.microsoft.com/office/drawing/2014/main" id="{8AFAA3E0-8F08-41B3-970A-F7D568F06922}"/>
              </a:ext>
              <a:ext uri="{C183D7F6-B498-43B3-948B-1728B52AA6E4}">
                <adec:decorative xmlns:adec="http://schemas.microsoft.com/office/drawing/2017/decorative" val="1"/>
              </a:ext>
            </a:extLst>
          </p:cNvPr>
          <p:cNvPicPr>
            <a:picLocks noGrp="1" noChangeAspect="1"/>
          </p:cNvPicPr>
          <p:nvPr>
            <p:ph sz="quarter" idx="16"/>
          </p:nvPr>
        </p:nvPicPr>
        <p:blipFill>
          <a:blip r:embed="rId4">
            <a:extLst>
              <a:ext uri="{28A0092B-C50C-407E-A947-70E740481C1C}">
                <a14:useLocalDpi xmlns:a14="http://schemas.microsoft.com/office/drawing/2010/main" val="0"/>
              </a:ext>
            </a:extLst>
          </a:blip>
          <a:stretch>
            <a:fillRect/>
          </a:stretch>
        </p:blipFill>
        <p:spPr>
          <a:xfrm>
            <a:off x="6824370" y="1584325"/>
            <a:ext cx="4209048" cy="4140200"/>
          </a:xfrm>
        </p:spPr>
      </p:pic>
    </p:spTree>
    <p:extLst>
      <p:ext uri="{BB962C8B-B14F-4D97-AF65-F5344CB8AC3E}">
        <p14:creationId xmlns:p14="http://schemas.microsoft.com/office/powerpoint/2010/main" val="38523830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1C9471BA-DBFC-4547-9463-F511E4B7694D}"/>
              </a:ext>
            </a:extLst>
          </p:cNvPr>
          <p:cNvSpPr>
            <a:spLocks noGrp="1"/>
          </p:cNvSpPr>
          <p:nvPr>
            <p:ph type="title"/>
          </p:nvPr>
        </p:nvSpPr>
        <p:spPr/>
        <p:txBody>
          <a:bodyPr/>
          <a:lstStyle/>
          <a:p>
            <a:r>
              <a:rPr lang="nb-NO" dirty="0"/>
              <a:t>UNE</a:t>
            </a:r>
          </a:p>
        </p:txBody>
      </p:sp>
      <p:pic>
        <p:nvPicPr>
          <p:cNvPr id="10" name="Plassholder for innhold 9" descr="Illustrasjon av saksbehandler i UNE">
            <a:extLst>
              <a:ext uri="{FF2B5EF4-FFF2-40B4-BE49-F238E27FC236}">
                <a16:creationId xmlns:a16="http://schemas.microsoft.com/office/drawing/2014/main" id="{7A5EDD96-D68F-4761-A8F9-977D5FC753D6}"/>
              </a:ext>
            </a:extLst>
          </p:cNvPr>
          <p:cNvPicPr>
            <a:picLocks noGrp="1" noChangeAspect="1"/>
          </p:cNvPicPr>
          <p:nvPr>
            <p:ph idx="15"/>
          </p:nvPr>
        </p:nvPicPr>
        <p:blipFill>
          <a:blip r:embed="rId3">
            <a:extLst>
              <a:ext uri="{28A0092B-C50C-407E-A947-70E740481C1C}">
                <a14:useLocalDpi xmlns:a14="http://schemas.microsoft.com/office/drawing/2010/main" val="0"/>
              </a:ext>
            </a:extLst>
          </a:blip>
          <a:stretch>
            <a:fillRect/>
          </a:stretch>
        </p:blipFill>
        <p:spPr>
          <a:xfrm>
            <a:off x="630238" y="1949730"/>
            <a:ext cx="5221287" cy="3409389"/>
          </a:xfrm>
        </p:spPr>
      </p:pic>
      <p:pic>
        <p:nvPicPr>
          <p:cNvPr id="3" name="Plassholder for innhold 2">
            <a:extLst>
              <a:ext uri="{FF2B5EF4-FFF2-40B4-BE49-F238E27FC236}">
                <a16:creationId xmlns:a16="http://schemas.microsoft.com/office/drawing/2014/main" id="{E456D92E-E799-4170-804F-0264028AE8E7}"/>
              </a:ext>
              <a:ext uri="{C183D7F6-B498-43B3-948B-1728B52AA6E4}">
                <adec:decorative xmlns:adec="http://schemas.microsoft.com/office/drawing/2017/decorative" val="1"/>
              </a:ext>
            </a:extLst>
          </p:cNvPr>
          <p:cNvPicPr>
            <a:picLocks noGrp="1" noChangeAspect="1"/>
          </p:cNvPicPr>
          <p:nvPr>
            <p:ph sz="quarter" idx="16"/>
          </p:nvPr>
        </p:nvPicPr>
        <p:blipFill>
          <a:blip r:embed="rId4">
            <a:extLst>
              <a:ext uri="{28A0092B-C50C-407E-A947-70E740481C1C}">
                <a14:useLocalDpi xmlns:a14="http://schemas.microsoft.com/office/drawing/2010/main" val="0"/>
              </a:ext>
            </a:extLst>
          </a:blip>
          <a:stretch>
            <a:fillRect/>
          </a:stretch>
        </p:blipFill>
        <p:spPr>
          <a:xfrm>
            <a:off x="6821579" y="1584325"/>
            <a:ext cx="4214630" cy="4140200"/>
          </a:xfrm>
        </p:spPr>
      </p:pic>
    </p:spTree>
    <p:extLst>
      <p:ext uri="{BB962C8B-B14F-4D97-AF65-F5344CB8AC3E}">
        <p14:creationId xmlns:p14="http://schemas.microsoft.com/office/powerpoint/2010/main" val="27873818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2DD087DC-943D-4062-AA23-7FDCCD89BCF1}"/>
              </a:ext>
            </a:extLst>
          </p:cNvPr>
          <p:cNvSpPr>
            <a:spLocks noGrp="1"/>
          </p:cNvSpPr>
          <p:nvPr>
            <p:ph type="ctrTitle"/>
          </p:nvPr>
        </p:nvSpPr>
        <p:spPr/>
        <p:txBody>
          <a:bodyPr/>
          <a:lstStyle/>
          <a:p>
            <a:r>
              <a:rPr lang="nb-NO" dirty="0"/>
              <a:t>Asylprosessen</a:t>
            </a:r>
          </a:p>
        </p:txBody>
      </p:sp>
      <p:sp>
        <p:nvSpPr>
          <p:cNvPr id="5" name="Undertittel 4">
            <a:extLst>
              <a:ext uri="{FF2B5EF4-FFF2-40B4-BE49-F238E27FC236}">
                <a16:creationId xmlns:a16="http://schemas.microsoft.com/office/drawing/2014/main" id="{C5297E47-9A0C-4A9E-A3D2-81DBD95B5955}"/>
              </a:ext>
            </a:extLst>
          </p:cNvPr>
          <p:cNvSpPr>
            <a:spLocks noGrp="1"/>
          </p:cNvSpPr>
          <p:nvPr>
            <p:ph type="subTitle" idx="1"/>
          </p:nvPr>
        </p:nvSpPr>
        <p:spPr/>
        <p:txBody>
          <a:bodyPr/>
          <a:lstStyle/>
          <a:p>
            <a:r>
              <a:rPr lang="nb-NO" dirty="0"/>
              <a:t>Hva skjer når du søker om beskyttelse?</a:t>
            </a:r>
          </a:p>
        </p:txBody>
      </p:sp>
    </p:spTree>
    <p:extLst>
      <p:ext uri="{BB962C8B-B14F-4D97-AF65-F5344CB8AC3E}">
        <p14:creationId xmlns:p14="http://schemas.microsoft.com/office/powerpoint/2010/main" val="3704109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1C9471BA-DBFC-4547-9463-F511E4B7694D}"/>
              </a:ext>
            </a:extLst>
          </p:cNvPr>
          <p:cNvSpPr>
            <a:spLocks noGrp="1"/>
          </p:cNvSpPr>
          <p:nvPr>
            <p:ph type="title"/>
          </p:nvPr>
        </p:nvSpPr>
        <p:spPr/>
        <p:txBody>
          <a:bodyPr/>
          <a:lstStyle/>
          <a:p>
            <a:r>
              <a:rPr lang="nb-NO" dirty="0"/>
              <a:t>IOM</a:t>
            </a:r>
          </a:p>
        </p:txBody>
      </p:sp>
      <p:pic>
        <p:nvPicPr>
          <p:cNvPr id="8" name="Plassholder for innhold 7" descr="Et bilde av koffert, sekk og billetter&#10;">
            <a:extLst>
              <a:ext uri="{FF2B5EF4-FFF2-40B4-BE49-F238E27FC236}">
                <a16:creationId xmlns:a16="http://schemas.microsoft.com/office/drawing/2014/main" id="{E6BE47EE-28FF-4354-B33B-4D59B73A630D}"/>
              </a:ext>
            </a:extLst>
          </p:cNvPr>
          <p:cNvPicPr>
            <a:picLocks noGrp="1" noChangeAspect="1"/>
          </p:cNvPicPr>
          <p:nvPr>
            <p:ph idx="15"/>
          </p:nvPr>
        </p:nvPicPr>
        <p:blipFill>
          <a:blip r:embed="rId3">
            <a:extLst>
              <a:ext uri="{28A0092B-C50C-407E-A947-70E740481C1C}">
                <a14:useLocalDpi xmlns:a14="http://schemas.microsoft.com/office/drawing/2010/main" val="0"/>
              </a:ext>
            </a:extLst>
          </a:blip>
          <a:stretch>
            <a:fillRect/>
          </a:stretch>
        </p:blipFill>
        <p:spPr>
          <a:xfrm>
            <a:off x="819466" y="1584325"/>
            <a:ext cx="4842830" cy="4140200"/>
          </a:xfrm>
        </p:spPr>
      </p:pic>
      <p:pic>
        <p:nvPicPr>
          <p:cNvPr id="3" name="Plassholder for innhold 2">
            <a:extLst>
              <a:ext uri="{FF2B5EF4-FFF2-40B4-BE49-F238E27FC236}">
                <a16:creationId xmlns:a16="http://schemas.microsoft.com/office/drawing/2014/main" id="{E8F50323-6D34-4535-9A55-CBEDB5F6FA63}"/>
              </a:ext>
              <a:ext uri="{C183D7F6-B498-43B3-948B-1728B52AA6E4}">
                <adec:decorative xmlns:adec="http://schemas.microsoft.com/office/drawing/2017/decorative" val="1"/>
              </a:ext>
            </a:extLst>
          </p:cNvPr>
          <p:cNvPicPr>
            <a:picLocks noGrp="1" noChangeAspect="1"/>
          </p:cNvPicPr>
          <p:nvPr>
            <p:ph sz="quarter" idx="16"/>
          </p:nvPr>
        </p:nvPicPr>
        <p:blipFill>
          <a:blip r:embed="rId4">
            <a:extLst>
              <a:ext uri="{28A0092B-C50C-407E-A947-70E740481C1C}">
                <a14:useLocalDpi xmlns:a14="http://schemas.microsoft.com/office/drawing/2010/main" val="0"/>
              </a:ext>
            </a:extLst>
          </a:blip>
          <a:stretch>
            <a:fillRect/>
          </a:stretch>
        </p:blipFill>
        <p:spPr>
          <a:xfrm>
            <a:off x="6824370" y="1584325"/>
            <a:ext cx="4209048" cy="4140200"/>
          </a:xfrm>
        </p:spPr>
      </p:pic>
    </p:spTree>
    <p:extLst>
      <p:ext uri="{BB962C8B-B14F-4D97-AF65-F5344CB8AC3E}">
        <p14:creationId xmlns:p14="http://schemas.microsoft.com/office/powerpoint/2010/main" val="25844135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36E122EE-1302-49D8-8C69-3D7BBEDD7121}"/>
              </a:ext>
            </a:extLst>
          </p:cNvPr>
          <p:cNvSpPr>
            <a:spLocks noGrp="1"/>
          </p:cNvSpPr>
          <p:nvPr>
            <p:ph type="title"/>
          </p:nvPr>
        </p:nvSpPr>
        <p:spPr>
          <a:xfrm>
            <a:off x="630079" y="565196"/>
            <a:ext cx="4819436" cy="615553"/>
          </a:xfrm>
        </p:spPr>
        <p:txBody>
          <a:bodyPr/>
          <a:lstStyle/>
          <a:p>
            <a:r>
              <a:rPr lang="nb-NO" dirty="0"/>
              <a:t>Oppsummering</a:t>
            </a:r>
          </a:p>
        </p:txBody>
      </p:sp>
      <p:pic>
        <p:nvPicPr>
          <p:cNvPr id="8" name="Plassholder for innhold 7">
            <a:extLst>
              <a:ext uri="{FF2B5EF4-FFF2-40B4-BE49-F238E27FC236}">
                <a16:creationId xmlns:a16="http://schemas.microsoft.com/office/drawing/2014/main" id="{6CC4DEAC-F604-451B-A1E8-95336E585992}"/>
              </a:ext>
              <a:ext uri="{C183D7F6-B498-43B3-948B-1728B52AA6E4}">
                <adec:decorative xmlns:adec="http://schemas.microsoft.com/office/drawing/2017/decorative" val="1"/>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649773" y="565150"/>
            <a:ext cx="4050241" cy="5159375"/>
          </a:xfrm>
        </p:spPr>
      </p:pic>
    </p:spTree>
    <p:extLst>
      <p:ext uri="{BB962C8B-B14F-4D97-AF65-F5344CB8AC3E}">
        <p14:creationId xmlns:p14="http://schemas.microsoft.com/office/powerpoint/2010/main" val="481042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lassholder for bilde 7">
            <a:extLst>
              <a:ext uri="{FF2B5EF4-FFF2-40B4-BE49-F238E27FC236}">
                <a16:creationId xmlns:a16="http://schemas.microsoft.com/office/drawing/2014/main" id="{BEC907F5-AB19-4D4B-8F14-6AAF397335EE}"/>
              </a:ext>
              <a:ext uri="{C183D7F6-B498-43B3-948B-1728B52AA6E4}">
                <adec:decorative xmlns:adec="http://schemas.microsoft.com/office/drawing/2017/decorative" val="1"/>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l="4601" r="4601"/>
          <a:stretch>
            <a:fillRect/>
          </a:stretch>
        </p:blipFill>
        <p:spPr/>
      </p:pic>
      <p:sp>
        <p:nvSpPr>
          <p:cNvPr id="5" name="Tittel 4">
            <a:extLst>
              <a:ext uri="{FF2B5EF4-FFF2-40B4-BE49-F238E27FC236}">
                <a16:creationId xmlns:a16="http://schemas.microsoft.com/office/drawing/2014/main" id="{50EA7DF8-495B-4CBF-8A21-ADCF3F9D9E6B}"/>
              </a:ext>
            </a:extLst>
          </p:cNvPr>
          <p:cNvSpPr>
            <a:spLocks noGrp="1"/>
          </p:cNvSpPr>
          <p:nvPr>
            <p:ph type="title"/>
          </p:nvPr>
        </p:nvSpPr>
        <p:spPr>
          <a:xfrm>
            <a:off x="1646487" y="2133650"/>
            <a:ext cx="2610465" cy="1800200"/>
          </a:xfrm>
        </p:spPr>
        <p:txBody>
          <a:bodyPr/>
          <a:lstStyle/>
          <a:p>
            <a:r>
              <a:rPr lang="nb-NO" sz="6600" dirty="0">
                <a:solidFill>
                  <a:schemeClr val="bg1"/>
                </a:solidFill>
              </a:rPr>
              <a:t>Du søkte</a:t>
            </a:r>
          </a:p>
        </p:txBody>
      </p:sp>
    </p:spTree>
    <p:extLst>
      <p:ext uri="{BB962C8B-B14F-4D97-AF65-F5344CB8AC3E}">
        <p14:creationId xmlns:p14="http://schemas.microsoft.com/office/powerpoint/2010/main" val="32890618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FC4DCFEA-A8E6-4B7E-AD75-17F7A6457948}"/>
              </a:ext>
            </a:extLst>
          </p:cNvPr>
          <p:cNvSpPr>
            <a:spLocks noGrp="1"/>
          </p:cNvSpPr>
          <p:nvPr>
            <p:ph type="title"/>
          </p:nvPr>
        </p:nvSpPr>
        <p:spPr>
          <a:xfrm>
            <a:off x="630079" y="565196"/>
            <a:ext cx="4819436" cy="1231106"/>
          </a:xfrm>
        </p:spPr>
        <p:txBody>
          <a:bodyPr/>
          <a:lstStyle/>
          <a:p>
            <a:r>
              <a:rPr lang="nb-NO" dirty="0"/>
              <a:t>Nasjonalt ankomstsenter</a:t>
            </a:r>
          </a:p>
        </p:txBody>
      </p:sp>
      <p:pic>
        <p:nvPicPr>
          <p:cNvPr id="5" name="Plassholder for innhold 4" descr="Et bilde av et telt">
            <a:extLst>
              <a:ext uri="{FF2B5EF4-FFF2-40B4-BE49-F238E27FC236}">
                <a16:creationId xmlns:a16="http://schemas.microsoft.com/office/drawing/2014/main" id="{6DD46D91-B754-4E25-8A3C-64D55A280559}"/>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5233491" y="984393"/>
            <a:ext cx="6306047" cy="4755867"/>
          </a:xfrm>
        </p:spPr>
      </p:pic>
    </p:spTree>
    <p:extLst>
      <p:ext uri="{BB962C8B-B14F-4D97-AF65-F5344CB8AC3E}">
        <p14:creationId xmlns:p14="http://schemas.microsoft.com/office/powerpoint/2010/main" val="7662598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24E9A45E-AC06-4F49-8F27-B15F982D8007}"/>
              </a:ext>
            </a:extLst>
          </p:cNvPr>
          <p:cNvSpPr>
            <a:spLocks noGrp="1"/>
          </p:cNvSpPr>
          <p:nvPr>
            <p:ph type="title"/>
          </p:nvPr>
        </p:nvSpPr>
        <p:spPr>
          <a:xfrm>
            <a:off x="630079" y="565196"/>
            <a:ext cx="2803212" cy="1352430"/>
          </a:xfrm>
        </p:spPr>
        <p:txBody>
          <a:bodyPr/>
          <a:lstStyle/>
          <a:p>
            <a:r>
              <a:rPr lang="nb-NO" dirty="0"/>
              <a:t>Dublin-samarbeidet</a:t>
            </a:r>
          </a:p>
        </p:txBody>
      </p:sp>
      <p:pic>
        <p:nvPicPr>
          <p:cNvPr id="8" name="Plassholder for innhold 7" descr="Kart over Europa som skal illustrere Dublin-samarbeidet">
            <a:extLst>
              <a:ext uri="{FF2B5EF4-FFF2-40B4-BE49-F238E27FC236}">
                <a16:creationId xmlns:a16="http://schemas.microsoft.com/office/drawing/2014/main" id="{FF90DCFA-A7E3-4EED-945B-E07E98B32FF3}"/>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4137668" y="405458"/>
            <a:ext cx="7427428" cy="5619010"/>
          </a:xfrm>
        </p:spPr>
      </p:pic>
    </p:spTree>
    <p:extLst>
      <p:ext uri="{BB962C8B-B14F-4D97-AF65-F5344CB8AC3E}">
        <p14:creationId xmlns:p14="http://schemas.microsoft.com/office/powerpoint/2010/main" val="29167951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ssholder for bilde 6">
            <a:extLst>
              <a:ext uri="{FF2B5EF4-FFF2-40B4-BE49-F238E27FC236}">
                <a16:creationId xmlns:a16="http://schemas.microsoft.com/office/drawing/2014/main" id="{DC2E68B2-31DD-4748-AF46-5521CD32F325}"/>
              </a:ext>
              <a:ext uri="{C183D7F6-B498-43B3-948B-1728B52AA6E4}">
                <adec:decorative xmlns:adec="http://schemas.microsoft.com/office/drawing/2017/decorative" val="1"/>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l="4601" r="4601"/>
          <a:stretch>
            <a:fillRect/>
          </a:stretch>
        </p:blipFill>
        <p:spPr/>
      </p:pic>
      <p:sp>
        <p:nvSpPr>
          <p:cNvPr id="2" name="Tittel 1">
            <a:extLst>
              <a:ext uri="{FF2B5EF4-FFF2-40B4-BE49-F238E27FC236}">
                <a16:creationId xmlns:a16="http://schemas.microsoft.com/office/drawing/2014/main" id="{9AD1DDA2-2A97-46AF-B26A-5E75C3574630}"/>
              </a:ext>
            </a:extLst>
          </p:cNvPr>
          <p:cNvSpPr>
            <a:spLocks noGrp="1"/>
          </p:cNvSpPr>
          <p:nvPr>
            <p:ph type="title"/>
          </p:nvPr>
        </p:nvSpPr>
        <p:spPr>
          <a:xfrm>
            <a:off x="1633091" y="2152800"/>
            <a:ext cx="3883332" cy="2031325"/>
          </a:xfrm>
        </p:spPr>
        <p:txBody>
          <a:bodyPr/>
          <a:lstStyle/>
          <a:p>
            <a:r>
              <a:rPr lang="nb-NO" sz="6600" dirty="0">
                <a:solidFill>
                  <a:schemeClr val="bg1"/>
                </a:solidFill>
              </a:rPr>
              <a:t>Du venter på svar</a:t>
            </a:r>
          </a:p>
        </p:txBody>
      </p:sp>
    </p:spTree>
    <p:extLst>
      <p:ext uri="{BB962C8B-B14F-4D97-AF65-F5344CB8AC3E}">
        <p14:creationId xmlns:p14="http://schemas.microsoft.com/office/powerpoint/2010/main" val="7619428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24E9A45E-AC06-4F49-8F27-B15F982D8007}"/>
              </a:ext>
            </a:extLst>
          </p:cNvPr>
          <p:cNvSpPr>
            <a:spLocks noGrp="1"/>
          </p:cNvSpPr>
          <p:nvPr>
            <p:ph type="title"/>
          </p:nvPr>
        </p:nvSpPr>
        <p:spPr>
          <a:xfrm>
            <a:off x="630079" y="565196"/>
            <a:ext cx="3019236" cy="1352430"/>
          </a:xfrm>
        </p:spPr>
        <p:txBody>
          <a:bodyPr/>
          <a:lstStyle/>
          <a:p>
            <a:r>
              <a:rPr lang="nb-NO" dirty="0"/>
              <a:t>Nye opplysninger</a:t>
            </a:r>
          </a:p>
        </p:txBody>
      </p:sp>
      <p:pic>
        <p:nvPicPr>
          <p:cNvPr id="3" name="Plassholder for innhold 2" descr="Illustrasjon for nye opplysninger">
            <a:extLst>
              <a:ext uri="{FF2B5EF4-FFF2-40B4-BE49-F238E27FC236}">
                <a16:creationId xmlns:a16="http://schemas.microsoft.com/office/drawing/2014/main" id="{6FD38DD6-E027-440F-975E-6EE11F5D831B}"/>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4873451" y="693490"/>
            <a:ext cx="6021156" cy="5093331"/>
          </a:xfrm>
        </p:spPr>
      </p:pic>
    </p:spTree>
    <p:extLst>
      <p:ext uri="{BB962C8B-B14F-4D97-AF65-F5344CB8AC3E}">
        <p14:creationId xmlns:p14="http://schemas.microsoft.com/office/powerpoint/2010/main" val="26810283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8343E431-9B5F-40B8-AF5E-9DE05B50BE6C}"/>
              </a:ext>
            </a:extLst>
          </p:cNvPr>
          <p:cNvSpPr>
            <a:spLocks noGrp="1"/>
          </p:cNvSpPr>
          <p:nvPr>
            <p:ph type="title"/>
          </p:nvPr>
        </p:nvSpPr>
        <p:spPr>
          <a:xfrm>
            <a:off x="630079" y="565196"/>
            <a:ext cx="4819436" cy="830997"/>
          </a:xfrm>
        </p:spPr>
        <p:txBody>
          <a:bodyPr/>
          <a:lstStyle/>
          <a:p>
            <a:r>
              <a:rPr lang="nb-NO" sz="5400" dirty="0"/>
              <a:t>Arbeid</a:t>
            </a:r>
          </a:p>
        </p:txBody>
      </p:sp>
      <p:pic>
        <p:nvPicPr>
          <p:cNvPr id="9" name="Plassholder for innhold 8" descr="Illustrasjon av en gartner og en kokk">
            <a:extLst>
              <a:ext uri="{FF2B5EF4-FFF2-40B4-BE49-F238E27FC236}">
                <a16:creationId xmlns:a16="http://schemas.microsoft.com/office/drawing/2014/main" id="{D383668C-BA55-4012-8120-4C80B1616698}"/>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743282" y="565150"/>
            <a:ext cx="3863223" cy="5159375"/>
          </a:xfrm>
        </p:spPr>
      </p:pic>
    </p:spTree>
    <p:extLst>
      <p:ext uri="{BB962C8B-B14F-4D97-AF65-F5344CB8AC3E}">
        <p14:creationId xmlns:p14="http://schemas.microsoft.com/office/powerpoint/2010/main" val="11479514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8675832C-C62F-436E-90E0-1D017AA880DC}"/>
              </a:ext>
            </a:extLst>
          </p:cNvPr>
          <p:cNvSpPr>
            <a:spLocks noGrp="1"/>
          </p:cNvSpPr>
          <p:nvPr>
            <p:ph type="title"/>
          </p:nvPr>
        </p:nvSpPr>
        <p:spPr>
          <a:xfrm>
            <a:off x="630079" y="565196"/>
            <a:ext cx="4819436" cy="615553"/>
          </a:xfrm>
        </p:spPr>
        <p:txBody>
          <a:bodyPr/>
          <a:lstStyle/>
          <a:p>
            <a:r>
              <a:rPr lang="nb-NO" dirty="0"/>
              <a:t>Familieinnvandring</a:t>
            </a:r>
          </a:p>
        </p:txBody>
      </p:sp>
      <p:pic>
        <p:nvPicPr>
          <p:cNvPr id="5" name="Plassholder for innhold 4" descr="Illustrasjon av en familie på fire&#10;">
            <a:extLst>
              <a:ext uri="{FF2B5EF4-FFF2-40B4-BE49-F238E27FC236}">
                <a16:creationId xmlns:a16="http://schemas.microsoft.com/office/drawing/2014/main" id="{380427F1-1EAB-482A-B815-4DFDE418CE3E}"/>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507910" y="565150"/>
            <a:ext cx="4333967" cy="5159375"/>
          </a:xfrm>
        </p:spPr>
      </p:pic>
    </p:spTree>
    <p:extLst>
      <p:ext uri="{BB962C8B-B14F-4D97-AF65-F5344CB8AC3E}">
        <p14:creationId xmlns:p14="http://schemas.microsoft.com/office/powerpoint/2010/main" val="23419915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FDB4789B-938A-40C7-B04E-5AC8DC1129B9}"/>
              </a:ext>
            </a:extLst>
          </p:cNvPr>
          <p:cNvSpPr>
            <a:spLocks noGrp="1"/>
          </p:cNvSpPr>
          <p:nvPr>
            <p:ph type="title"/>
          </p:nvPr>
        </p:nvSpPr>
        <p:spPr>
          <a:xfrm>
            <a:off x="630079" y="565196"/>
            <a:ext cx="4819436" cy="615553"/>
          </a:xfrm>
        </p:spPr>
        <p:txBody>
          <a:bodyPr/>
          <a:lstStyle/>
          <a:p>
            <a:r>
              <a:rPr lang="nb-NO" dirty="0"/>
              <a:t>Opplæring</a:t>
            </a:r>
          </a:p>
        </p:txBody>
      </p:sp>
      <p:pic>
        <p:nvPicPr>
          <p:cNvPr id="5" name="Plassholder for innhold 4" descr="Illustrasjon av opplæring&#10;">
            <a:extLst>
              <a:ext uri="{FF2B5EF4-FFF2-40B4-BE49-F238E27FC236}">
                <a16:creationId xmlns:a16="http://schemas.microsoft.com/office/drawing/2014/main" id="{A8FB525D-C20B-47C1-AED0-208D008D0A45}"/>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128399" y="565150"/>
            <a:ext cx="5092990" cy="5159375"/>
          </a:xfrm>
        </p:spPr>
      </p:pic>
    </p:spTree>
    <p:extLst>
      <p:ext uri="{BB962C8B-B14F-4D97-AF65-F5344CB8AC3E}">
        <p14:creationId xmlns:p14="http://schemas.microsoft.com/office/powerpoint/2010/main" val="19225351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8A506740-1EE5-4EF8-A9E8-34D21E04966B}"/>
              </a:ext>
            </a:extLst>
          </p:cNvPr>
          <p:cNvSpPr>
            <a:spLocks noGrp="1"/>
          </p:cNvSpPr>
          <p:nvPr>
            <p:ph type="title"/>
          </p:nvPr>
        </p:nvSpPr>
        <p:spPr/>
        <p:txBody>
          <a:bodyPr/>
          <a:lstStyle/>
          <a:p>
            <a:r>
              <a:rPr lang="nb-NO" dirty="0"/>
              <a:t>Informasjonsprogrammet</a:t>
            </a:r>
          </a:p>
        </p:txBody>
      </p:sp>
      <p:pic>
        <p:nvPicPr>
          <p:cNvPr id="9" name="Picture Placeholder 8">
            <a:extLst>
              <a:ext uri="{FF2B5EF4-FFF2-40B4-BE49-F238E27FC236}">
                <a16:creationId xmlns:a16="http://schemas.microsoft.com/office/drawing/2014/main" id="{BEE2753B-14E3-4428-8D37-C95B43F89829}"/>
              </a:ext>
              <a:ext uri="{C183D7F6-B498-43B3-948B-1728B52AA6E4}">
                <adec:decorative xmlns:adec="http://schemas.microsoft.com/office/drawing/2017/decorative" val="1"/>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t="9619" b="9619"/>
          <a:stretch>
            <a:fillRect/>
          </a:stretch>
        </p:blipFill>
        <p:spPr/>
      </p:pic>
    </p:spTree>
    <p:extLst>
      <p:ext uri="{BB962C8B-B14F-4D97-AF65-F5344CB8AC3E}">
        <p14:creationId xmlns:p14="http://schemas.microsoft.com/office/powerpoint/2010/main" val="23576643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1CF10554-0306-4BEB-8F72-FB9F7409F2B0}"/>
              </a:ext>
            </a:extLst>
          </p:cNvPr>
          <p:cNvSpPr>
            <a:spLocks noGrp="1"/>
          </p:cNvSpPr>
          <p:nvPr>
            <p:ph type="title"/>
          </p:nvPr>
        </p:nvSpPr>
        <p:spPr>
          <a:xfrm>
            <a:off x="630079" y="565196"/>
            <a:ext cx="4819436" cy="615553"/>
          </a:xfrm>
        </p:spPr>
        <p:txBody>
          <a:bodyPr/>
          <a:lstStyle/>
          <a:p>
            <a:r>
              <a:rPr lang="nb-NO" dirty="0"/>
              <a:t>Kompetanse</a:t>
            </a:r>
          </a:p>
        </p:txBody>
      </p:sp>
      <p:pic>
        <p:nvPicPr>
          <p:cNvPr id="5" name="Plassholder for innhold 4" descr="Illustrasjon av ulike former for kompetanse">
            <a:extLst>
              <a:ext uri="{FF2B5EF4-FFF2-40B4-BE49-F238E27FC236}">
                <a16:creationId xmlns:a16="http://schemas.microsoft.com/office/drawing/2014/main" id="{7BD151D9-2845-41C8-8B09-6C2511BE8E9A}"/>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4305927" y="569541"/>
            <a:ext cx="6780146" cy="5215032"/>
          </a:xfrm>
        </p:spPr>
      </p:pic>
    </p:spTree>
    <p:extLst>
      <p:ext uri="{BB962C8B-B14F-4D97-AF65-F5344CB8AC3E}">
        <p14:creationId xmlns:p14="http://schemas.microsoft.com/office/powerpoint/2010/main" val="17223365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3C6B590E-85B2-41AB-B05E-E4DBE6B21EF7}"/>
              </a:ext>
            </a:extLst>
          </p:cNvPr>
          <p:cNvSpPr>
            <a:spLocks noGrp="1"/>
          </p:cNvSpPr>
          <p:nvPr>
            <p:ph type="title"/>
          </p:nvPr>
        </p:nvSpPr>
        <p:spPr>
          <a:xfrm>
            <a:off x="630079" y="565196"/>
            <a:ext cx="4819436" cy="830997"/>
          </a:xfrm>
        </p:spPr>
        <p:txBody>
          <a:bodyPr/>
          <a:lstStyle/>
          <a:p>
            <a:r>
              <a:rPr lang="nb-NO" sz="5400" dirty="0"/>
              <a:t>Barn</a:t>
            </a:r>
          </a:p>
        </p:txBody>
      </p:sp>
      <p:pic>
        <p:nvPicPr>
          <p:cNvPr id="5" name="Plassholder for innhold 4" descr="Bilde av en baby">
            <a:extLst>
              <a:ext uri="{FF2B5EF4-FFF2-40B4-BE49-F238E27FC236}">
                <a16:creationId xmlns:a16="http://schemas.microsoft.com/office/drawing/2014/main" id="{254C2BBB-9C1C-4AE8-9AEF-4469D12F17E8}"/>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3937347" y="1485578"/>
            <a:ext cx="5729288" cy="3131352"/>
          </a:xfrm>
        </p:spPr>
      </p:pic>
    </p:spTree>
    <p:extLst>
      <p:ext uri="{BB962C8B-B14F-4D97-AF65-F5344CB8AC3E}">
        <p14:creationId xmlns:p14="http://schemas.microsoft.com/office/powerpoint/2010/main" val="11795715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8345DB2E-B14A-4B9F-A5A4-D8B46394945F}"/>
              </a:ext>
            </a:extLst>
          </p:cNvPr>
          <p:cNvSpPr>
            <a:spLocks noGrp="1"/>
          </p:cNvSpPr>
          <p:nvPr>
            <p:ph type="title"/>
          </p:nvPr>
        </p:nvSpPr>
        <p:spPr>
          <a:xfrm>
            <a:off x="630079" y="565196"/>
            <a:ext cx="4819436" cy="615553"/>
          </a:xfrm>
        </p:spPr>
        <p:txBody>
          <a:bodyPr/>
          <a:lstStyle/>
          <a:p>
            <a:r>
              <a:rPr lang="nb-NO" dirty="0"/>
              <a:t>Bo utenfor mottak</a:t>
            </a:r>
          </a:p>
        </p:txBody>
      </p:sp>
      <p:pic>
        <p:nvPicPr>
          <p:cNvPr id="5" name="Plassholder for innhold 4" descr="Illustrasjon på bosted utenfor mottak&#10;">
            <a:extLst>
              <a:ext uri="{FF2B5EF4-FFF2-40B4-BE49-F238E27FC236}">
                <a16:creationId xmlns:a16="http://schemas.microsoft.com/office/drawing/2014/main" id="{E738A0A5-9C85-47E2-8DB3-CDE40DD75502}"/>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3433291" y="1616657"/>
            <a:ext cx="7818215" cy="4094937"/>
          </a:xfrm>
        </p:spPr>
      </p:pic>
    </p:spTree>
    <p:extLst>
      <p:ext uri="{BB962C8B-B14F-4D97-AF65-F5344CB8AC3E}">
        <p14:creationId xmlns:p14="http://schemas.microsoft.com/office/powerpoint/2010/main" val="20986801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F1AB3211-3110-4E7C-9EB2-F68D9416EB02}"/>
              </a:ext>
            </a:extLst>
          </p:cNvPr>
          <p:cNvSpPr>
            <a:spLocks noGrp="1"/>
          </p:cNvSpPr>
          <p:nvPr>
            <p:ph type="title"/>
          </p:nvPr>
        </p:nvSpPr>
        <p:spPr>
          <a:xfrm>
            <a:off x="630079" y="565196"/>
            <a:ext cx="4819436" cy="615553"/>
          </a:xfrm>
        </p:spPr>
        <p:txBody>
          <a:bodyPr/>
          <a:lstStyle/>
          <a:p>
            <a:r>
              <a:rPr lang="nb-NO" dirty="0"/>
              <a:t>Søknaden din</a:t>
            </a:r>
          </a:p>
        </p:txBody>
      </p:sp>
      <p:pic>
        <p:nvPicPr>
          <p:cNvPr id="5" name="Plassholder for innhold 4" descr="Illustrasjon av en saksbehandler">
            <a:extLst>
              <a:ext uri="{FF2B5EF4-FFF2-40B4-BE49-F238E27FC236}">
                <a16:creationId xmlns:a16="http://schemas.microsoft.com/office/drawing/2014/main" id="{9DB4017F-F1AE-42E1-9461-3BCA9CD74010}"/>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3505299" y="1180749"/>
            <a:ext cx="7560840" cy="4530077"/>
          </a:xfrm>
        </p:spPr>
      </p:pic>
    </p:spTree>
    <p:extLst>
      <p:ext uri="{BB962C8B-B14F-4D97-AF65-F5344CB8AC3E}">
        <p14:creationId xmlns:p14="http://schemas.microsoft.com/office/powerpoint/2010/main" val="21862102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2A391B9A-D403-4F84-A463-D81DCE462A18}"/>
              </a:ext>
            </a:extLst>
          </p:cNvPr>
          <p:cNvSpPr>
            <a:spLocks noGrp="1"/>
          </p:cNvSpPr>
          <p:nvPr>
            <p:ph type="title"/>
          </p:nvPr>
        </p:nvSpPr>
        <p:spPr>
          <a:xfrm>
            <a:off x="630079" y="565196"/>
            <a:ext cx="4819436" cy="830997"/>
          </a:xfrm>
        </p:spPr>
        <p:txBody>
          <a:bodyPr/>
          <a:lstStyle/>
          <a:p>
            <a:r>
              <a:rPr lang="nb-NO" sz="5400" dirty="0"/>
              <a:t>Ventetid</a:t>
            </a:r>
          </a:p>
        </p:txBody>
      </p:sp>
      <p:pic>
        <p:nvPicPr>
          <p:cNvPr id="5" name="Plassholder for innhold 4" descr="Illustrasjon av en kalender">
            <a:extLst>
              <a:ext uri="{FF2B5EF4-FFF2-40B4-BE49-F238E27FC236}">
                <a16:creationId xmlns:a16="http://schemas.microsoft.com/office/drawing/2014/main" id="{E5CCB1F9-C3E4-427A-9A75-794FAE6CD009}"/>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5233491" y="605883"/>
            <a:ext cx="5470591" cy="5159375"/>
          </a:xfrm>
        </p:spPr>
      </p:pic>
    </p:spTree>
    <p:extLst>
      <p:ext uri="{BB962C8B-B14F-4D97-AF65-F5344CB8AC3E}">
        <p14:creationId xmlns:p14="http://schemas.microsoft.com/office/powerpoint/2010/main" val="3988349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CCC4E02B-1C2F-4C6C-9198-4339CD68A910}"/>
              </a:ext>
            </a:extLst>
          </p:cNvPr>
          <p:cNvSpPr>
            <a:spLocks noGrp="1"/>
          </p:cNvSpPr>
          <p:nvPr>
            <p:ph type="title"/>
          </p:nvPr>
        </p:nvSpPr>
        <p:spPr>
          <a:xfrm>
            <a:off x="630079" y="565196"/>
            <a:ext cx="4819436" cy="1231106"/>
          </a:xfrm>
        </p:spPr>
        <p:txBody>
          <a:bodyPr/>
          <a:lstStyle/>
          <a:p>
            <a:r>
              <a:rPr lang="nb-NO" dirty="0"/>
              <a:t>Oppgave om ventetid</a:t>
            </a:r>
          </a:p>
        </p:txBody>
      </p:sp>
      <p:pic>
        <p:nvPicPr>
          <p:cNvPr id="5" name="Plassholder for innhold 4" descr="Illustrasjon på oppgave om ventetid">
            <a:extLst>
              <a:ext uri="{FF2B5EF4-FFF2-40B4-BE49-F238E27FC236}">
                <a16:creationId xmlns:a16="http://schemas.microsoft.com/office/drawing/2014/main" id="{FEA954EC-256F-46D2-A349-7158F066C1F0}"/>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097587" y="-98674"/>
            <a:ext cx="6639920" cy="6357085"/>
          </a:xfrm>
        </p:spPr>
      </p:pic>
    </p:spTree>
    <p:extLst>
      <p:ext uri="{BB962C8B-B14F-4D97-AF65-F5344CB8AC3E}">
        <p14:creationId xmlns:p14="http://schemas.microsoft.com/office/powerpoint/2010/main" val="1032148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ssholder for bilde 6">
            <a:extLst>
              <a:ext uri="{FF2B5EF4-FFF2-40B4-BE49-F238E27FC236}">
                <a16:creationId xmlns:a16="http://schemas.microsoft.com/office/drawing/2014/main" id="{25E03F56-2C5E-40E4-A626-1DE1742053E7}"/>
              </a:ext>
              <a:ext uri="{C183D7F6-B498-43B3-948B-1728B52AA6E4}">
                <adec:decorative xmlns:adec="http://schemas.microsoft.com/office/drawing/2017/decorative" val="1"/>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l="4601" r="4601"/>
          <a:stretch>
            <a:fillRect/>
          </a:stretch>
        </p:blipFill>
        <p:spPr/>
      </p:pic>
      <p:sp>
        <p:nvSpPr>
          <p:cNvPr id="4" name="Tittel 3">
            <a:extLst>
              <a:ext uri="{FF2B5EF4-FFF2-40B4-BE49-F238E27FC236}">
                <a16:creationId xmlns:a16="http://schemas.microsoft.com/office/drawing/2014/main" id="{C59B76D8-771E-421C-8919-7A8B0AB08D3B}"/>
              </a:ext>
            </a:extLst>
          </p:cNvPr>
          <p:cNvSpPr>
            <a:spLocks noGrp="1"/>
          </p:cNvSpPr>
          <p:nvPr>
            <p:ph type="title"/>
          </p:nvPr>
        </p:nvSpPr>
        <p:spPr>
          <a:xfrm>
            <a:off x="1273051" y="1584287"/>
            <a:ext cx="5994841" cy="2769989"/>
          </a:xfrm>
        </p:spPr>
        <p:txBody>
          <a:bodyPr/>
          <a:lstStyle/>
          <a:p>
            <a:r>
              <a:rPr lang="nb-NO" sz="6000" dirty="0"/>
              <a:t>www.udi.no</a:t>
            </a:r>
            <a:br>
              <a:rPr lang="nb-NO" sz="6000" dirty="0"/>
            </a:br>
            <a:br>
              <a:rPr lang="nb-NO" sz="6000" dirty="0"/>
            </a:br>
            <a:r>
              <a:rPr lang="nb-NO" sz="6000" dirty="0"/>
              <a:t>23 35 16 00</a:t>
            </a:r>
          </a:p>
        </p:txBody>
      </p:sp>
    </p:spTree>
    <p:extLst>
      <p:ext uri="{BB962C8B-B14F-4D97-AF65-F5344CB8AC3E}">
        <p14:creationId xmlns:p14="http://schemas.microsoft.com/office/powerpoint/2010/main" val="34464989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D429EBAC-9BFE-4261-AA03-99DCE8DE2AA4}"/>
              </a:ext>
            </a:extLst>
          </p:cNvPr>
          <p:cNvSpPr>
            <a:spLocks noGrp="1"/>
          </p:cNvSpPr>
          <p:nvPr>
            <p:ph type="title"/>
          </p:nvPr>
        </p:nvSpPr>
        <p:spPr/>
        <p:txBody>
          <a:bodyPr/>
          <a:lstStyle/>
          <a:p>
            <a:r>
              <a:rPr lang="nb-NO" dirty="0"/>
              <a:t>Trekke søknaden</a:t>
            </a:r>
          </a:p>
        </p:txBody>
      </p:sp>
      <p:pic>
        <p:nvPicPr>
          <p:cNvPr id="7" name="Plassholder for bilde 6" descr="Illustrasjon av et fly">
            <a:extLst>
              <a:ext uri="{FF2B5EF4-FFF2-40B4-BE49-F238E27FC236}">
                <a16:creationId xmlns:a16="http://schemas.microsoft.com/office/drawing/2014/main" id="{38A1B6DA-1680-4F2D-A822-383361396545}"/>
              </a:ext>
            </a:extLst>
          </p:cNvPr>
          <p:cNvPicPr>
            <a:picLocks noGrp="1" noChangeAspect="1"/>
          </p:cNvPicPr>
          <p:nvPr>
            <p:ph type="pic" sz="quarter" idx="12"/>
          </p:nvPr>
        </p:nvPicPr>
        <p:blipFill rotWithShape="1">
          <a:blip r:embed="rId3">
            <a:extLst>
              <a:ext uri="{28A0092B-C50C-407E-A947-70E740481C1C}">
                <a14:useLocalDpi xmlns:a14="http://schemas.microsoft.com/office/drawing/2010/main" val="0"/>
              </a:ext>
            </a:extLst>
          </a:blip>
          <a:srcRect l="-5911" t="-1628" r="-5911" b="-1628"/>
          <a:stretch/>
        </p:blipFill>
        <p:spPr>
          <a:xfrm>
            <a:off x="630079" y="1584198"/>
            <a:ext cx="10909364" cy="4140959"/>
          </a:xfrm>
        </p:spPr>
      </p:pic>
    </p:spTree>
    <p:extLst>
      <p:ext uri="{BB962C8B-B14F-4D97-AF65-F5344CB8AC3E}">
        <p14:creationId xmlns:p14="http://schemas.microsoft.com/office/powerpoint/2010/main" val="16751882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86F3C8A3-F06A-4186-8103-1CEC5803AB35}"/>
              </a:ext>
            </a:extLst>
          </p:cNvPr>
          <p:cNvSpPr>
            <a:spLocks noGrp="1"/>
          </p:cNvSpPr>
          <p:nvPr>
            <p:ph type="title"/>
          </p:nvPr>
        </p:nvSpPr>
        <p:spPr>
          <a:xfrm>
            <a:off x="630079" y="565196"/>
            <a:ext cx="4819436" cy="1231106"/>
          </a:xfrm>
        </p:spPr>
        <p:txBody>
          <a:bodyPr/>
          <a:lstStyle/>
          <a:p>
            <a:r>
              <a:rPr lang="nb-NO" dirty="0"/>
              <a:t>Oppsummering av du venter på svar</a:t>
            </a:r>
          </a:p>
        </p:txBody>
      </p:sp>
      <p:pic>
        <p:nvPicPr>
          <p:cNvPr id="5" name="Plassholder for innhold 4">
            <a:extLst>
              <a:ext uri="{FF2B5EF4-FFF2-40B4-BE49-F238E27FC236}">
                <a16:creationId xmlns:a16="http://schemas.microsoft.com/office/drawing/2014/main" id="{C8ABED0A-C561-4BDB-8CBA-736632F12AFC}"/>
              </a:ext>
              <a:ext uri="{C183D7F6-B498-43B3-948B-1728B52AA6E4}">
                <adec:decorative xmlns:adec="http://schemas.microsoft.com/office/drawing/2017/decorative" val="1"/>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649773" y="565150"/>
            <a:ext cx="4050241" cy="5159375"/>
          </a:xfrm>
        </p:spPr>
      </p:pic>
    </p:spTree>
    <p:extLst>
      <p:ext uri="{BB962C8B-B14F-4D97-AF65-F5344CB8AC3E}">
        <p14:creationId xmlns:p14="http://schemas.microsoft.com/office/powerpoint/2010/main" val="39985918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ssholder for bilde 6">
            <a:extLst>
              <a:ext uri="{FF2B5EF4-FFF2-40B4-BE49-F238E27FC236}">
                <a16:creationId xmlns:a16="http://schemas.microsoft.com/office/drawing/2014/main" id="{1F6C43BF-8BE8-4B85-B955-B7CB97EE1402}"/>
              </a:ext>
              <a:ext uri="{C183D7F6-B498-43B3-948B-1728B52AA6E4}">
                <adec:decorative xmlns:adec="http://schemas.microsoft.com/office/drawing/2017/decorative" val="1"/>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l="4601" r="4601"/>
          <a:stretch>
            <a:fillRect/>
          </a:stretch>
        </p:blipFill>
        <p:spPr/>
      </p:pic>
      <p:sp>
        <p:nvSpPr>
          <p:cNvPr id="4" name="Tittel 3">
            <a:extLst>
              <a:ext uri="{FF2B5EF4-FFF2-40B4-BE49-F238E27FC236}">
                <a16:creationId xmlns:a16="http://schemas.microsoft.com/office/drawing/2014/main" id="{40C51948-F89C-4CF4-96C7-F3895CA4C983}"/>
              </a:ext>
            </a:extLst>
          </p:cNvPr>
          <p:cNvSpPr>
            <a:spLocks noGrp="1"/>
          </p:cNvSpPr>
          <p:nvPr>
            <p:ph type="title"/>
          </p:nvPr>
        </p:nvSpPr>
        <p:spPr>
          <a:xfrm>
            <a:off x="1254873" y="1557586"/>
            <a:ext cx="5994841" cy="1080120"/>
          </a:xfrm>
        </p:spPr>
        <p:txBody>
          <a:bodyPr/>
          <a:lstStyle/>
          <a:p>
            <a:r>
              <a:rPr lang="nb-NO" sz="6600" dirty="0">
                <a:solidFill>
                  <a:schemeClr val="bg1"/>
                </a:solidFill>
              </a:rPr>
              <a:t>Du har fått svar</a:t>
            </a:r>
          </a:p>
        </p:txBody>
      </p:sp>
    </p:spTree>
    <p:extLst>
      <p:ext uri="{BB962C8B-B14F-4D97-AF65-F5344CB8AC3E}">
        <p14:creationId xmlns:p14="http://schemas.microsoft.com/office/powerpoint/2010/main" val="10056975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ssholder for bilde 6">
            <a:extLst>
              <a:ext uri="{FF2B5EF4-FFF2-40B4-BE49-F238E27FC236}">
                <a16:creationId xmlns:a16="http://schemas.microsoft.com/office/drawing/2014/main" id="{FADDF899-25C3-4FB2-847E-77B340596A1C}"/>
              </a:ext>
              <a:ext uri="{C183D7F6-B498-43B3-948B-1728B52AA6E4}">
                <adec:decorative xmlns:adec="http://schemas.microsoft.com/office/drawing/2017/decorative" val="1"/>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l="4601" r="4601"/>
          <a:stretch>
            <a:fillRect/>
          </a:stretch>
        </p:blipFill>
        <p:spPr/>
      </p:pic>
      <p:sp>
        <p:nvSpPr>
          <p:cNvPr id="4" name="Tittel 3">
            <a:extLst>
              <a:ext uri="{FF2B5EF4-FFF2-40B4-BE49-F238E27FC236}">
                <a16:creationId xmlns:a16="http://schemas.microsoft.com/office/drawing/2014/main" id="{78EB0F59-CB35-4457-8E0D-DDDEF634D08A}"/>
              </a:ext>
            </a:extLst>
          </p:cNvPr>
          <p:cNvSpPr>
            <a:spLocks noGrp="1"/>
          </p:cNvSpPr>
          <p:nvPr>
            <p:ph type="title"/>
          </p:nvPr>
        </p:nvSpPr>
        <p:spPr>
          <a:xfrm>
            <a:off x="1254873" y="2440408"/>
            <a:ext cx="4338658" cy="1008112"/>
          </a:xfrm>
        </p:spPr>
        <p:txBody>
          <a:bodyPr/>
          <a:lstStyle/>
          <a:p>
            <a:r>
              <a:rPr lang="nb-NO" sz="6600" dirty="0">
                <a:solidFill>
                  <a:schemeClr val="bg1"/>
                </a:solidFill>
              </a:rPr>
              <a:t>Beskyttelse</a:t>
            </a:r>
          </a:p>
        </p:txBody>
      </p:sp>
    </p:spTree>
    <p:extLst>
      <p:ext uri="{BB962C8B-B14F-4D97-AF65-F5344CB8AC3E}">
        <p14:creationId xmlns:p14="http://schemas.microsoft.com/office/powerpoint/2010/main" val="29274477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ssholder for bilde 6">
            <a:extLst>
              <a:ext uri="{FF2B5EF4-FFF2-40B4-BE49-F238E27FC236}">
                <a16:creationId xmlns:a16="http://schemas.microsoft.com/office/drawing/2014/main" id="{935C60DC-603D-4968-8517-BCC0B04C15F0}"/>
              </a:ext>
              <a:ext uri="{C183D7F6-B498-43B3-948B-1728B52AA6E4}">
                <adec:decorative xmlns:adec="http://schemas.microsoft.com/office/drawing/2017/decorative" val="1"/>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l="4601" r="4601"/>
          <a:stretch>
            <a:fillRect/>
          </a:stretch>
        </p:blipFill>
        <p:spPr/>
      </p:pic>
      <p:sp>
        <p:nvSpPr>
          <p:cNvPr id="4" name="Tittel 3">
            <a:extLst>
              <a:ext uri="{FF2B5EF4-FFF2-40B4-BE49-F238E27FC236}">
                <a16:creationId xmlns:a16="http://schemas.microsoft.com/office/drawing/2014/main" id="{BEFB6271-663C-4209-9C81-CA8D01CE90E3}"/>
              </a:ext>
            </a:extLst>
          </p:cNvPr>
          <p:cNvSpPr>
            <a:spLocks noGrp="1"/>
          </p:cNvSpPr>
          <p:nvPr>
            <p:ph type="title"/>
          </p:nvPr>
        </p:nvSpPr>
        <p:spPr>
          <a:xfrm>
            <a:off x="1705099" y="1989634"/>
            <a:ext cx="3451284" cy="2031325"/>
          </a:xfrm>
        </p:spPr>
        <p:txBody>
          <a:bodyPr/>
          <a:lstStyle/>
          <a:p>
            <a:r>
              <a:rPr lang="nb-NO" sz="6600" dirty="0">
                <a:solidFill>
                  <a:schemeClr val="bg1"/>
                </a:solidFill>
              </a:rPr>
              <a:t>Du får bli i Norge</a:t>
            </a:r>
          </a:p>
        </p:txBody>
      </p:sp>
    </p:spTree>
    <p:extLst>
      <p:ext uri="{BB962C8B-B14F-4D97-AF65-F5344CB8AC3E}">
        <p14:creationId xmlns:p14="http://schemas.microsoft.com/office/powerpoint/2010/main" val="3514840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198ABD0E-5165-4BAC-8116-0864D53E86A7}"/>
              </a:ext>
            </a:extLst>
          </p:cNvPr>
          <p:cNvSpPr>
            <a:spLocks noGrp="1"/>
          </p:cNvSpPr>
          <p:nvPr>
            <p:ph type="title"/>
          </p:nvPr>
        </p:nvSpPr>
        <p:spPr>
          <a:xfrm>
            <a:off x="630079" y="565196"/>
            <a:ext cx="4819436" cy="615553"/>
          </a:xfrm>
        </p:spPr>
        <p:txBody>
          <a:bodyPr/>
          <a:lstStyle/>
          <a:p>
            <a:r>
              <a:rPr lang="nb-NO" dirty="0"/>
              <a:t>Beskyttelse (asyl)</a:t>
            </a:r>
          </a:p>
        </p:txBody>
      </p:sp>
      <p:pic>
        <p:nvPicPr>
          <p:cNvPr id="5" name="Plassholder for innhold 4" descr="Illustrasjon av et asylvedtak">
            <a:extLst>
              <a:ext uri="{FF2B5EF4-FFF2-40B4-BE49-F238E27FC236}">
                <a16:creationId xmlns:a16="http://schemas.microsoft.com/office/drawing/2014/main" id="{2A754FDB-5EB4-4ADB-BFE3-B699A6C8219D}"/>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718471" y="565150"/>
            <a:ext cx="3912845" cy="5159375"/>
          </a:xfrm>
        </p:spPr>
      </p:pic>
    </p:spTree>
    <p:extLst>
      <p:ext uri="{BB962C8B-B14F-4D97-AF65-F5344CB8AC3E}">
        <p14:creationId xmlns:p14="http://schemas.microsoft.com/office/powerpoint/2010/main" val="33139793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ECB4A004-AE1A-4FB2-BFFA-C0C197343F80}"/>
              </a:ext>
            </a:extLst>
          </p:cNvPr>
          <p:cNvSpPr>
            <a:spLocks noGrp="1"/>
          </p:cNvSpPr>
          <p:nvPr>
            <p:ph type="title"/>
          </p:nvPr>
        </p:nvSpPr>
        <p:spPr>
          <a:xfrm>
            <a:off x="630079" y="565196"/>
            <a:ext cx="4819436" cy="1231106"/>
          </a:xfrm>
        </p:spPr>
        <p:txBody>
          <a:bodyPr/>
          <a:lstStyle/>
          <a:p>
            <a:r>
              <a:rPr lang="nb-NO" dirty="0"/>
              <a:t>Familieinnvandring ved  beskyttelse</a:t>
            </a:r>
          </a:p>
        </p:txBody>
      </p:sp>
      <p:pic>
        <p:nvPicPr>
          <p:cNvPr id="5" name="Plassholder for innhold 4" descr="Illustrasjon av en familie&#10;">
            <a:extLst>
              <a:ext uri="{FF2B5EF4-FFF2-40B4-BE49-F238E27FC236}">
                <a16:creationId xmlns:a16="http://schemas.microsoft.com/office/drawing/2014/main" id="{939ABD25-D6CE-4595-BCB4-65A671C5F4A7}"/>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507910" y="565150"/>
            <a:ext cx="4333967" cy="5159375"/>
          </a:xfrm>
        </p:spPr>
      </p:pic>
    </p:spTree>
    <p:extLst>
      <p:ext uri="{BB962C8B-B14F-4D97-AF65-F5344CB8AC3E}">
        <p14:creationId xmlns:p14="http://schemas.microsoft.com/office/powerpoint/2010/main" val="10453274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762652FF-C765-4098-8B17-5F4F0CE83267}"/>
              </a:ext>
            </a:extLst>
          </p:cNvPr>
          <p:cNvSpPr>
            <a:spLocks noGrp="1"/>
          </p:cNvSpPr>
          <p:nvPr>
            <p:ph type="title"/>
          </p:nvPr>
        </p:nvSpPr>
        <p:spPr>
          <a:xfrm>
            <a:off x="630079" y="565196"/>
            <a:ext cx="4819436" cy="1846659"/>
          </a:xfrm>
        </p:spPr>
        <p:txBody>
          <a:bodyPr/>
          <a:lstStyle/>
          <a:p>
            <a:r>
              <a:rPr lang="nb-NO" dirty="0"/>
              <a:t>Sterke, menneskelige hensyn</a:t>
            </a:r>
          </a:p>
        </p:txBody>
      </p:sp>
      <p:pic>
        <p:nvPicPr>
          <p:cNvPr id="5" name="Plassholder for innhold 4" descr="Illustrasjon av vedtak på humanitært grunnlag">
            <a:extLst>
              <a:ext uri="{FF2B5EF4-FFF2-40B4-BE49-F238E27FC236}">
                <a16:creationId xmlns:a16="http://schemas.microsoft.com/office/drawing/2014/main" id="{690C24A0-BD0A-452D-8F5D-E1F4761AC848}"/>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718471" y="565150"/>
            <a:ext cx="3912845" cy="5159375"/>
          </a:xfrm>
        </p:spPr>
      </p:pic>
    </p:spTree>
    <p:extLst>
      <p:ext uri="{BB962C8B-B14F-4D97-AF65-F5344CB8AC3E}">
        <p14:creationId xmlns:p14="http://schemas.microsoft.com/office/powerpoint/2010/main" val="32662481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04937EB5-419B-4B5F-89D8-67DF6CAE2657}"/>
              </a:ext>
            </a:extLst>
          </p:cNvPr>
          <p:cNvSpPr>
            <a:spLocks noGrp="1"/>
          </p:cNvSpPr>
          <p:nvPr>
            <p:ph type="title"/>
          </p:nvPr>
        </p:nvSpPr>
        <p:spPr>
          <a:xfrm>
            <a:off x="630079" y="565196"/>
            <a:ext cx="4243372" cy="1280422"/>
          </a:xfrm>
        </p:spPr>
        <p:txBody>
          <a:bodyPr/>
          <a:lstStyle/>
          <a:p>
            <a:r>
              <a:rPr lang="nb-NO" dirty="0"/>
              <a:t>Begrenset tillatelse</a:t>
            </a:r>
          </a:p>
        </p:txBody>
      </p:sp>
      <p:pic>
        <p:nvPicPr>
          <p:cNvPr id="5" name="Plassholder for innhold 4" descr="Illustrasjon av et vedtak på humanitært grunnlag">
            <a:extLst>
              <a:ext uri="{FF2B5EF4-FFF2-40B4-BE49-F238E27FC236}">
                <a16:creationId xmlns:a16="http://schemas.microsoft.com/office/drawing/2014/main" id="{FE543C16-CAEF-4453-879C-0978682ECD6E}"/>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673651" y="565150"/>
            <a:ext cx="4452161" cy="5159375"/>
          </a:xfrm>
        </p:spPr>
      </p:pic>
    </p:spTree>
    <p:extLst>
      <p:ext uri="{BB962C8B-B14F-4D97-AF65-F5344CB8AC3E}">
        <p14:creationId xmlns:p14="http://schemas.microsoft.com/office/powerpoint/2010/main" val="9680566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9A83CFBA-76E1-43FD-BA37-CCF53989CF4E}"/>
              </a:ext>
            </a:extLst>
          </p:cNvPr>
          <p:cNvSpPr>
            <a:spLocks noGrp="1"/>
          </p:cNvSpPr>
          <p:nvPr>
            <p:ph type="title"/>
          </p:nvPr>
        </p:nvSpPr>
        <p:spPr/>
        <p:txBody>
          <a:bodyPr/>
          <a:lstStyle/>
          <a:p>
            <a:r>
              <a:rPr lang="nb-NO" dirty="0"/>
              <a:t>Samtale om bosetting</a:t>
            </a:r>
          </a:p>
        </p:txBody>
      </p:sp>
      <p:pic>
        <p:nvPicPr>
          <p:cNvPr id="7" name="Plassholder for bilde 6" descr="Illustrasjon av en samtale om bosetting">
            <a:extLst>
              <a:ext uri="{FF2B5EF4-FFF2-40B4-BE49-F238E27FC236}">
                <a16:creationId xmlns:a16="http://schemas.microsoft.com/office/drawing/2014/main" id="{FFECBAB1-8C2E-471B-AE80-8D2C2B331EDA}"/>
              </a:ext>
            </a:extLst>
          </p:cNvPr>
          <p:cNvPicPr>
            <a:picLocks noGrp="1" noChangeAspect="1"/>
          </p:cNvPicPr>
          <p:nvPr>
            <p:ph type="pic" sz="quarter" idx="12"/>
          </p:nvPr>
        </p:nvPicPr>
        <p:blipFill rotWithShape="1">
          <a:blip r:embed="rId3">
            <a:extLst>
              <a:ext uri="{28A0092B-C50C-407E-A947-70E740481C1C}">
                <a14:useLocalDpi xmlns:a14="http://schemas.microsoft.com/office/drawing/2010/main" val="0"/>
              </a:ext>
            </a:extLst>
          </a:blip>
          <a:srcRect l="-4700" t="-2285" r="-4700" b="-2285"/>
          <a:stretch/>
        </p:blipFill>
        <p:spPr>
          <a:xfrm>
            <a:off x="630079" y="1584198"/>
            <a:ext cx="10909364" cy="4140959"/>
          </a:xfrm>
        </p:spPr>
      </p:pic>
    </p:spTree>
    <p:extLst>
      <p:ext uri="{BB962C8B-B14F-4D97-AF65-F5344CB8AC3E}">
        <p14:creationId xmlns:p14="http://schemas.microsoft.com/office/powerpoint/2010/main" val="160815297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BF561F4A-3355-4ED9-8B00-478A5C9A57CF}"/>
              </a:ext>
            </a:extLst>
          </p:cNvPr>
          <p:cNvSpPr>
            <a:spLocks noGrp="1"/>
          </p:cNvSpPr>
          <p:nvPr>
            <p:ph type="title"/>
          </p:nvPr>
        </p:nvSpPr>
        <p:spPr>
          <a:xfrm>
            <a:off x="630079" y="565196"/>
            <a:ext cx="4819436" cy="1231106"/>
          </a:xfrm>
        </p:spPr>
        <p:txBody>
          <a:bodyPr/>
          <a:lstStyle/>
          <a:p>
            <a:r>
              <a:rPr lang="nb-NO" dirty="0"/>
              <a:t>Hvis du ikke bor på mottaket</a:t>
            </a:r>
          </a:p>
        </p:txBody>
      </p:sp>
      <p:pic>
        <p:nvPicPr>
          <p:cNvPr id="5" name="Plassholder for innhold 4" descr="Illustrasjon av et hus">
            <a:extLst>
              <a:ext uri="{FF2B5EF4-FFF2-40B4-BE49-F238E27FC236}">
                <a16:creationId xmlns:a16="http://schemas.microsoft.com/office/drawing/2014/main" id="{1AAA01E0-4597-4E99-A30A-6553D47D4396}"/>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258733" y="565150"/>
            <a:ext cx="4832322" cy="5159375"/>
          </a:xfrm>
        </p:spPr>
      </p:pic>
    </p:spTree>
    <p:extLst>
      <p:ext uri="{BB962C8B-B14F-4D97-AF65-F5344CB8AC3E}">
        <p14:creationId xmlns:p14="http://schemas.microsoft.com/office/powerpoint/2010/main" val="40940602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AA7CBD6F-68F2-4259-917F-CA88FEF20830}"/>
              </a:ext>
            </a:extLst>
          </p:cNvPr>
          <p:cNvSpPr>
            <a:spLocks noGrp="1"/>
          </p:cNvSpPr>
          <p:nvPr>
            <p:ph type="title"/>
          </p:nvPr>
        </p:nvSpPr>
        <p:spPr>
          <a:xfrm>
            <a:off x="630079" y="565196"/>
            <a:ext cx="4819436" cy="1231106"/>
          </a:xfrm>
        </p:spPr>
        <p:txBody>
          <a:bodyPr/>
          <a:lstStyle/>
          <a:p>
            <a:r>
              <a:rPr lang="nb-NO" dirty="0"/>
              <a:t>Oppgave om rettigheter</a:t>
            </a:r>
          </a:p>
        </p:txBody>
      </p:sp>
      <p:pic>
        <p:nvPicPr>
          <p:cNvPr id="5" name="Plassholder for innhold 4" descr="Illustrasjon av to mennesker">
            <a:extLst>
              <a:ext uri="{FF2B5EF4-FFF2-40B4-BE49-F238E27FC236}">
                <a16:creationId xmlns:a16="http://schemas.microsoft.com/office/drawing/2014/main" id="{B12E327F-6138-4B5C-983D-3D77AB9B45CB}"/>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066420" y="-314622"/>
            <a:ext cx="6639920" cy="6357085"/>
          </a:xfrm>
        </p:spPr>
      </p:pic>
    </p:spTree>
    <p:extLst>
      <p:ext uri="{BB962C8B-B14F-4D97-AF65-F5344CB8AC3E}">
        <p14:creationId xmlns:p14="http://schemas.microsoft.com/office/powerpoint/2010/main" val="318675543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AA7CBD6F-68F2-4259-917F-CA88FEF20830}"/>
              </a:ext>
            </a:extLst>
          </p:cNvPr>
          <p:cNvSpPr>
            <a:spLocks noGrp="1"/>
          </p:cNvSpPr>
          <p:nvPr>
            <p:ph type="title"/>
          </p:nvPr>
        </p:nvSpPr>
        <p:spPr>
          <a:xfrm>
            <a:off x="630079" y="565196"/>
            <a:ext cx="4819436" cy="1231106"/>
          </a:xfrm>
        </p:spPr>
        <p:txBody>
          <a:bodyPr/>
          <a:lstStyle/>
          <a:p>
            <a:r>
              <a:rPr lang="nb-NO" dirty="0"/>
              <a:t>Tilbakekall av tillatelsen</a:t>
            </a:r>
          </a:p>
        </p:txBody>
      </p:sp>
      <p:pic>
        <p:nvPicPr>
          <p:cNvPr id="5" name="Plassholder for innhold 4" descr="Illustrasjon på en tillatelse som er trukket tilbake">
            <a:extLst>
              <a:ext uri="{FF2B5EF4-FFF2-40B4-BE49-F238E27FC236}">
                <a16:creationId xmlns:a16="http://schemas.microsoft.com/office/drawing/2014/main" id="{DE2947ED-895C-441E-9992-3843573E97A1}"/>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718200" y="565150"/>
            <a:ext cx="3913388" cy="5159375"/>
          </a:xfrm>
        </p:spPr>
      </p:pic>
    </p:spTree>
    <p:extLst>
      <p:ext uri="{BB962C8B-B14F-4D97-AF65-F5344CB8AC3E}">
        <p14:creationId xmlns:p14="http://schemas.microsoft.com/office/powerpoint/2010/main" val="22761165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AA7CBD6F-68F2-4259-917F-CA88FEF20830}"/>
              </a:ext>
            </a:extLst>
          </p:cNvPr>
          <p:cNvSpPr>
            <a:spLocks noGrp="1"/>
          </p:cNvSpPr>
          <p:nvPr>
            <p:ph type="title"/>
          </p:nvPr>
        </p:nvSpPr>
        <p:spPr>
          <a:xfrm>
            <a:off x="630079" y="565196"/>
            <a:ext cx="4819436" cy="615553"/>
          </a:xfrm>
        </p:spPr>
        <p:txBody>
          <a:bodyPr/>
          <a:lstStyle/>
          <a:p>
            <a:r>
              <a:rPr lang="nb-NO" dirty="0"/>
              <a:t>Utvisning</a:t>
            </a:r>
          </a:p>
        </p:txBody>
      </p:sp>
      <p:pic>
        <p:nvPicPr>
          <p:cNvPr id="11" name="Plassholder for innhold 10" descr="Illustrasjon av mann med reiseveske foran en dør">
            <a:extLst>
              <a:ext uri="{FF2B5EF4-FFF2-40B4-BE49-F238E27FC236}">
                <a16:creationId xmlns:a16="http://schemas.microsoft.com/office/drawing/2014/main" id="{8316C3CA-F5AF-4FEC-9B79-31369CA0BC4D}"/>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7668657" y="730640"/>
            <a:ext cx="2965434" cy="4927796"/>
          </a:xfrm>
        </p:spPr>
      </p:pic>
    </p:spTree>
    <p:extLst>
      <p:ext uri="{BB962C8B-B14F-4D97-AF65-F5344CB8AC3E}">
        <p14:creationId xmlns:p14="http://schemas.microsoft.com/office/powerpoint/2010/main" val="8861736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0D3559B1-8DB4-43DC-96C9-985BA44BB9AA}"/>
              </a:ext>
            </a:extLst>
          </p:cNvPr>
          <p:cNvSpPr>
            <a:spLocks noGrp="1"/>
          </p:cNvSpPr>
          <p:nvPr>
            <p:ph type="title"/>
          </p:nvPr>
        </p:nvSpPr>
        <p:spPr/>
        <p:txBody>
          <a:bodyPr/>
          <a:lstStyle/>
          <a:p>
            <a:r>
              <a:rPr lang="nb-NO" dirty="0"/>
              <a:t>Asylprosessen </a:t>
            </a:r>
          </a:p>
        </p:txBody>
      </p:sp>
      <p:pic>
        <p:nvPicPr>
          <p:cNvPr id="3" name="Plassholder for bilde 2" descr="Illustrasjon av asylprosessen">
            <a:extLst>
              <a:ext uri="{FF2B5EF4-FFF2-40B4-BE49-F238E27FC236}">
                <a16:creationId xmlns:a16="http://schemas.microsoft.com/office/drawing/2014/main" id="{8183DF24-D8DF-40FD-82EF-03F919C8631E}"/>
              </a:ext>
            </a:extLst>
          </p:cNvPr>
          <p:cNvPicPr>
            <a:picLocks noGrp="1" noChangeAspect="1"/>
          </p:cNvPicPr>
          <p:nvPr>
            <p:ph type="pic" sz="quarter" idx="12"/>
          </p:nvPr>
        </p:nvPicPr>
        <p:blipFill rotWithShape="1">
          <a:blip r:embed="rId3">
            <a:extLst>
              <a:ext uri="{28A0092B-C50C-407E-A947-70E740481C1C}">
                <a14:useLocalDpi xmlns:a14="http://schemas.microsoft.com/office/drawing/2010/main" val="0"/>
              </a:ext>
            </a:extLst>
          </a:blip>
          <a:srcRect l="-845" t="21882" r="-845" b="19909"/>
          <a:stretch/>
        </p:blipFill>
        <p:spPr>
          <a:xfrm>
            <a:off x="630079" y="1413570"/>
            <a:ext cx="10909364" cy="4212000"/>
          </a:xfrm>
        </p:spPr>
      </p:pic>
    </p:spTree>
    <p:extLst>
      <p:ext uri="{BB962C8B-B14F-4D97-AF65-F5344CB8AC3E}">
        <p14:creationId xmlns:p14="http://schemas.microsoft.com/office/powerpoint/2010/main" val="30630633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86F3C8A3-F06A-4186-8103-1CEC5803AB35}"/>
              </a:ext>
            </a:extLst>
          </p:cNvPr>
          <p:cNvSpPr>
            <a:spLocks noGrp="1"/>
          </p:cNvSpPr>
          <p:nvPr>
            <p:ph type="title"/>
          </p:nvPr>
        </p:nvSpPr>
        <p:spPr>
          <a:xfrm>
            <a:off x="630079" y="565196"/>
            <a:ext cx="4819436" cy="1231106"/>
          </a:xfrm>
        </p:spPr>
        <p:txBody>
          <a:bodyPr/>
          <a:lstStyle/>
          <a:p>
            <a:r>
              <a:rPr lang="nb-NO" dirty="0"/>
              <a:t>Oppsummering av du får svar</a:t>
            </a:r>
          </a:p>
        </p:txBody>
      </p:sp>
      <p:pic>
        <p:nvPicPr>
          <p:cNvPr id="5" name="Plassholder for innhold 4">
            <a:extLst>
              <a:ext uri="{FF2B5EF4-FFF2-40B4-BE49-F238E27FC236}">
                <a16:creationId xmlns:a16="http://schemas.microsoft.com/office/drawing/2014/main" id="{C8ABED0A-C561-4BDB-8CBA-736632F12AFC}"/>
              </a:ext>
              <a:ext uri="{C183D7F6-B498-43B3-948B-1728B52AA6E4}">
                <adec:decorative xmlns:adec="http://schemas.microsoft.com/office/drawing/2017/decorative" val="1"/>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634386" y="565150"/>
            <a:ext cx="4050241" cy="5159375"/>
          </a:xfrm>
        </p:spPr>
      </p:pic>
    </p:spTree>
    <p:extLst>
      <p:ext uri="{BB962C8B-B14F-4D97-AF65-F5344CB8AC3E}">
        <p14:creationId xmlns:p14="http://schemas.microsoft.com/office/powerpoint/2010/main" val="325174382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ssholder for bilde 6">
            <a:extLst>
              <a:ext uri="{FF2B5EF4-FFF2-40B4-BE49-F238E27FC236}">
                <a16:creationId xmlns:a16="http://schemas.microsoft.com/office/drawing/2014/main" id="{0A8B10FE-D390-4276-BFC9-4ED7F867375F}"/>
              </a:ext>
              <a:ext uri="{C183D7F6-B498-43B3-948B-1728B52AA6E4}">
                <adec:decorative xmlns:adec="http://schemas.microsoft.com/office/drawing/2017/decorative" val="1"/>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l="4601" r="4601"/>
          <a:stretch>
            <a:fillRect/>
          </a:stretch>
        </p:blipFill>
        <p:spPr/>
      </p:pic>
      <p:sp>
        <p:nvSpPr>
          <p:cNvPr id="4" name="Tittel 3">
            <a:extLst>
              <a:ext uri="{FF2B5EF4-FFF2-40B4-BE49-F238E27FC236}">
                <a16:creationId xmlns:a16="http://schemas.microsoft.com/office/drawing/2014/main" id="{C512F1EB-A363-404C-A2A3-EBF095837525}"/>
              </a:ext>
            </a:extLst>
          </p:cNvPr>
          <p:cNvSpPr>
            <a:spLocks noGrp="1"/>
          </p:cNvSpPr>
          <p:nvPr>
            <p:ph type="title"/>
          </p:nvPr>
        </p:nvSpPr>
        <p:spPr>
          <a:xfrm>
            <a:off x="1705099" y="1917626"/>
            <a:ext cx="4698697" cy="1845507"/>
          </a:xfrm>
        </p:spPr>
        <p:txBody>
          <a:bodyPr/>
          <a:lstStyle/>
          <a:p>
            <a:r>
              <a:rPr lang="nb-NO" sz="6600" dirty="0">
                <a:solidFill>
                  <a:schemeClr val="bg1"/>
                </a:solidFill>
              </a:rPr>
              <a:t>Du får ikke bli i Norge</a:t>
            </a:r>
          </a:p>
        </p:txBody>
      </p:sp>
    </p:spTree>
    <p:extLst>
      <p:ext uri="{BB962C8B-B14F-4D97-AF65-F5344CB8AC3E}">
        <p14:creationId xmlns:p14="http://schemas.microsoft.com/office/powerpoint/2010/main" val="247601633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AA7CBD6F-68F2-4259-917F-CA88FEF20830}"/>
              </a:ext>
            </a:extLst>
          </p:cNvPr>
          <p:cNvSpPr>
            <a:spLocks noGrp="1"/>
          </p:cNvSpPr>
          <p:nvPr>
            <p:ph type="title"/>
          </p:nvPr>
        </p:nvSpPr>
        <p:spPr>
          <a:xfrm>
            <a:off x="630079" y="565196"/>
            <a:ext cx="4819436" cy="615553"/>
          </a:xfrm>
        </p:spPr>
        <p:txBody>
          <a:bodyPr/>
          <a:lstStyle/>
          <a:p>
            <a:r>
              <a:rPr lang="nb-NO" dirty="0"/>
              <a:t>Hjelp av advokat</a:t>
            </a:r>
          </a:p>
        </p:txBody>
      </p:sp>
      <p:pic>
        <p:nvPicPr>
          <p:cNvPr id="5" name="Plassholder for innhold 4" descr="Illustrasjon av en advokat">
            <a:extLst>
              <a:ext uri="{FF2B5EF4-FFF2-40B4-BE49-F238E27FC236}">
                <a16:creationId xmlns:a16="http://schemas.microsoft.com/office/drawing/2014/main" id="{520BFA94-2EBA-477D-9781-EBF694E13B85}"/>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457627" y="536550"/>
            <a:ext cx="3861741" cy="5159375"/>
          </a:xfrm>
        </p:spPr>
      </p:pic>
    </p:spTree>
    <p:extLst>
      <p:ext uri="{BB962C8B-B14F-4D97-AF65-F5344CB8AC3E}">
        <p14:creationId xmlns:p14="http://schemas.microsoft.com/office/powerpoint/2010/main" val="145100664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AA7CBD6F-68F2-4259-917F-CA88FEF20830}"/>
              </a:ext>
            </a:extLst>
          </p:cNvPr>
          <p:cNvSpPr>
            <a:spLocks noGrp="1"/>
          </p:cNvSpPr>
          <p:nvPr>
            <p:ph type="title"/>
          </p:nvPr>
        </p:nvSpPr>
        <p:spPr>
          <a:xfrm>
            <a:off x="630079" y="565196"/>
            <a:ext cx="4819436" cy="615553"/>
          </a:xfrm>
        </p:spPr>
        <p:txBody>
          <a:bodyPr/>
          <a:lstStyle/>
          <a:p>
            <a:r>
              <a:rPr lang="nb-NO" dirty="0"/>
              <a:t>Frist for utreise</a:t>
            </a:r>
          </a:p>
        </p:txBody>
      </p:sp>
      <p:pic>
        <p:nvPicPr>
          <p:cNvPr id="5" name="Plassholder for innhold 4" descr="Illustrasjon av en klage">
            <a:extLst>
              <a:ext uri="{FF2B5EF4-FFF2-40B4-BE49-F238E27FC236}">
                <a16:creationId xmlns:a16="http://schemas.microsoft.com/office/drawing/2014/main" id="{9A5C9F73-5D89-4303-A93E-B9D1577E9E49}"/>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385619" y="565150"/>
            <a:ext cx="3810730" cy="5159375"/>
          </a:xfrm>
        </p:spPr>
      </p:pic>
    </p:spTree>
    <p:extLst>
      <p:ext uri="{BB962C8B-B14F-4D97-AF65-F5344CB8AC3E}">
        <p14:creationId xmlns:p14="http://schemas.microsoft.com/office/powerpoint/2010/main" val="415928534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AA7CBD6F-68F2-4259-917F-CA88FEF20830}"/>
              </a:ext>
            </a:extLst>
          </p:cNvPr>
          <p:cNvSpPr>
            <a:spLocks noGrp="1"/>
          </p:cNvSpPr>
          <p:nvPr>
            <p:ph type="title"/>
          </p:nvPr>
        </p:nvSpPr>
        <p:spPr>
          <a:xfrm>
            <a:off x="630079" y="565196"/>
            <a:ext cx="4819436" cy="615553"/>
          </a:xfrm>
        </p:spPr>
        <p:txBody>
          <a:bodyPr/>
          <a:lstStyle/>
          <a:p>
            <a:r>
              <a:rPr lang="nb-NO" dirty="0"/>
              <a:t>Oppgave om avslag</a:t>
            </a:r>
          </a:p>
        </p:txBody>
      </p:sp>
      <p:pic>
        <p:nvPicPr>
          <p:cNvPr id="5" name="Plassholder for innhold 4" descr="Illustrasjon på oppgave om avslag&#10;">
            <a:extLst>
              <a:ext uri="{FF2B5EF4-FFF2-40B4-BE49-F238E27FC236}">
                <a16:creationId xmlns:a16="http://schemas.microsoft.com/office/drawing/2014/main" id="{1FC3E5E3-995A-443D-9788-A25541ACE548}"/>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066420" y="-50403"/>
            <a:ext cx="6567912" cy="6288145"/>
          </a:xfrm>
        </p:spPr>
      </p:pic>
    </p:spTree>
    <p:extLst>
      <p:ext uri="{BB962C8B-B14F-4D97-AF65-F5344CB8AC3E}">
        <p14:creationId xmlns:p14="http://schemas.microsoft.com/office/powerpoint/2010/main" val="157922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AA7CBD6F-68F2-4259-917F-CA88FEF20830}"/>
              </a:ext>
            </a:extLst>
          </p:cNvPr>
          <p:cNvSpPr>
            <a:spLocks noGrp="1"/>
          </p:cNvSpPr>
          <p:nvPr>
            <p:ph type="title"/>
          </p:nvPr>
        </p:nvSpPr>
        <p:spPr>
          <a:xfrm>
            <a:off x="630079" y="565196"/>
            <a:ext cx="4819436" cy="1231106"/>
          </a:xfrm>
        </p:spPr>
        <p:txBody>
          <a:bodyPr/>
          <a:lstStyle/>
          <a:p>
            <a:r>
              <a:rPr lang="nb-NO"/>
              <a:t>UNE behandler </a:t>
            </a:r>
            <a:r>
              <a:rPr lang="nb-NO" dirty="0"/>
              <a:t>klagen</a:t>
            </a:r>
          </a:p>
        </p:txBody>
      </p:sp>
      <p:pic>
        <p:nvPicPr>
          <p:cNvPr id="7" name="Plassholder for innhold 6" descr="Illustrasjon av en saksbehandler i UNE">
            <a:extLst>
              <a:ext uri="{FF2B5EF4-FFF2-40B4-BE49-F238E27FC236}">
                <a16:creationId xmlns:a16="http://schemas.microsoft.com/office/drawing/2014/main" id="{E5148D09-7867-45C4-A880-252BC353516B}"/>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5810250" y="1274286"/>
            <a:ext cx="5729288" cy="3741102"/>
          </a:xfrm>
        </p:spPr>
      </p:pic>
    </p:spTree>
    <p:extLst>
      <p:ext uri="{BB962C8B-B14F-4D97-AF65-F5344CB8AC3E}">
        <p14:creationId xmlns:p14="http://schemas.microsoft.com/office/powerpoint/2010/main" val="126583513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AA7CBD6F-68F2-4259-917F-CA88FEF20830}"/>
              </a:ext>
            </a:extLst>
          </p:cNvPr>
          <p:cNvSpPr>
            <a:spLocks noGrp="1"/>
          </p:cNvSpPr>
          <p:nvPr>
            <p:ph type="title"/>
          </p:nvPr>
        </p:nvSpPr>
        <p:spPr>
          <a:xfrm>
            <a:off x="630079" y="565196"/>
            <a:ext cx="4819436" cy="615553"/>
          </a:xfrm>
        </p:spPr>
        <p:txBody>
          <a:bodyPr/>
          <a:lstStyle/>
          <a:p>
            <a:r>
              <a:rPr lang="nb-NO" dirty="0"/>
              <a:t>Samtale om retur</a:t>
            </a:r>
          </a:p>
        </p:txBody>
      </p:sp>
      <p:pic>
        <p:nvPicPr>
          <p:cNvPr id="5" name="Plassholder for innhold 4" descr="En illustrasjon på en samtale mellom to mennesker">
            <a:extLst>
              <a:ext uri="{FF2B5EF4-FFF2-40B4-BE49-F238E27FC236}">
                <a16:creationId xmlns:a16="http://schemas.microsoft.com/office/drawing/2014/main" id="{EEE5645F-D3F6-4664-81B3-A33B1A77E8C8}"/>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2786192" y="1412935"/>
            <a:ext cx="8632706" cy="4227725"/>
          </a:xfrm>
        </p:spPr>
      </p:pic>
    </p:spTree>
    <p:extLst>
      <p:ext uri="{BB962C8B-B14F-4D97-AF65-F5344CB8AC3E}">
        <p14:creationId xmlns:p14="http://schemas.microsoft.com/office/powerpoint/2010/main" val="32181872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FFCA28E7-FB4C-4ACD-92E5-FCFC417CA2A7}"/>
              </a:ext>
            </a:extLst>
          </p:cNvPr>
          <p:cNvSpPr>
            <a:spLocks noGrp="1"/>
          </p:cNvSpPr>
          <p:nvPr>
            <p:ph type="title"/>
          </p:nvPr>
        </p:nvSpPr>
        <p:spPr/>
        <p:txBody>
          <a:bodyPr/>
          <a:lstStyle/>
          <a:p>
            <a:r>
              <a:rPr lang="nb-NO" dirty="0"/>
              <a:t>Barn og retur</a:t>
            </a:r>
          </a:p>
        </p:txBody>
      </p:sp>
      <p:pic>
        <p:nvPicPr>
          <p:cNvPr id="8" name="Plassholder for innhold 7" descr="Illustrasjon av nettsiden asylbarn.no">
            <a:extLst>
              <a:ext uri="{FF2B5EF4-FFF2-40B4-BE49-F238E27FC236}">
                <a16:creationId xmlns:a16="http://schemas.microsoft.com/office/drawing/2014/main" id="{EC07090D-4FCE-4FC5-A61F-D9876E946A55}"/>
              </a:ext>
            </a:extLst>
          </p:cNvPr>
          <p:cNvPicPr>
            <a:picLocks noGrp="1" noChangeAspect="1"/>
          </p:cNvPicPr>
          <p:nvPr>
            <p:ph idx="15"/>
          </p:nvPr>
        </p:nvPicPr>
        <p:blipFill>
          <a:blip r:embed="rId3">
            <a:extLst>
              <a:ext uri="{28A0092B-C50C-407E-A947-70E740481C1C}">
                <a14:useLocalDpi xmlns:a14="http://schemas.microsoft.com/office/drawing/2010/main" val="0"/>
              </a:ext>
            </a:extLst>
          </a:blip>
          <a:stretch>
            <a:fillRect/>
          </a:stretch>
        </p:blipFill>
        <p:spPr>
          <a:xfrm>
            <a:off x="630238" y="1956333"/>
            <a:ext cx="5221287" cy="3396183"/>
          </a:xfrm>
        </p:spPr>
      </p:pic>
      <p:pic>
        <p:nvPicPr>
          <p:cNvPr id="10" name="Plassholder for innhold 9" descr="Illustrasjon av to søsken">
            <a:extLst>
              <a:ext uri="{FF2B5EF4-FFF2-40B4-BE49-F238E27FC236}">
                <a16:creationId xmlns:a16="http://schemas.microsoft.com/office/drawing/2014/main" id="{0CD121AC-A602-4F1B-A6A2-AFDA5E026A53}"/>
              </a:ext>
            </a:extLst>
          </p:cNvPr>
          <p:cNvPicPr>
            <a:picLocks noGrp="1" noChangeAspect="1"/>
          </p:cNvPicPr>
          <p:nvPr>
            <p:ph sz="quarter" idx="16"/>
          </p:nvPr>
        </p:nvPicPr>
        <p:blipFill>
          <a:blip r:embed="rId4">
            <a:extLst>
              <a:ext uri="{28A0092B-C50C-407E-A947-70E740481C1C}">
                <a14:useLocalDpi xmlns:a14="http://schemas.microsoft.com/office/drawing/2010/main" val="0"/>
              </a:ext>
            </a:extLst>
          </a:blip>
          <a:stretch>
            <a:fillRect/>
          </a:stretch>
        </p:blipFill>
        <p:spPr>
          <a:xfrm>
            <a:off x="7964919" y="147213"/>
            <a:ext cx="2597164" cy="5577312"/>
          </a:xfrm>
        </p:spPr>
      </p:pic>
    </p:spTree>
    <p:extLst>
      <p:ext uri="{BB962C8B-B14F-4D97-AF65-F5344CB8AC3E}">
        <p14:creationId xmlns:p14="http://schemas.microsoft.com/office/powerpoint/2010/main" val="70052431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ECDBF844-CC92-482F-A7BD-235667964BE8}"/>
              </a:ext>
            </a:extLst>
          </p:cNvPr>
          <p:cNvSpPr>
            <a:spLocks noGrp="1"/>
          </p:cNvSpPr>
          <p:nvPr>
            <p:ph type="title"/>
          </p:nvPr>
        </p:nvSpPr>
        <p:spPr/>
        <p:txBody>
          <a:bodyPr/>
          <a:lstStyle/>
          <a:p>
            <a:r>
              <a:rPr lang="nb-NO" dirty="0"/>
              <a:t>Reise hjem</a:t>
            </a:r>
          </a:p>
        </p:txBody>
      </p:sp>
      <p:pic>
        <p:nvPicPr>
          <p:cNvPr id="8" name="Plassholder for innhold 4" descr="Illustrasjon av et fly i luften for å illustrere at du kan reise hjem. ">
            <a:extLst>
              <a:ext uri="{FF2B5EF4-FFF2-40B4-BE49-F238E27FC236}">
                <a16:creationId xmlns:a16="http://schemas.microsoft.com/office/drawing/2014/main" id="{CD046CEF-C15F-45E6-979E-12A149D072F7}"/>
              </a:ext>
            </a:extLst>
          </p:cNvPr>
          <p:cNvPicPr>
            <a:picLocks noGrp="1" noChangeAspect="1"/>
          </p:cNvPicPr>
          <p:nvPr>
            <p:ph sz="quarter" idx="12"/>
          </p:nvPr>
        </p:nvPicPr>
        <p:blipFill>
          <a:blip r:embed="rId3" cstate="print">
            <a:extLst>
              <a:ext uri="{28A0092B-C50C-407E-A947-70E740481C1C}">
                <a14:useLocalDpi xmlns:a14="http://schemas.microsoft.com/office/drawing/2010/main" val="0"/>
              </a:ext>
            </a:extLst>
          </a:blip>
          <a:stretch>
            <a:fillRect/>
          </a:stretch>
        </p:blipFill>
        <p:spPr>
          <a:xfrm flipH="1">
            <a:off x="2085241" y="1495204"/>
            <a:ext cx="8791381" cy="4238845"/>
          </a:xfrm>
          <a:prstGeom prst="rect">
            <a:avLst/>
          </a:prstGeom>
        </p:spPr>
      </p:pic>
    </p:spTree>
    <p:extLst>
      <p:ext uri="{BB962C8B-B14F-4D97-AF65-F5344CB8AC3E}">
        <p14:creationId xmlns:p14="http://schemas.microsoft.com/office/powerpoint/2010/main" val="318116764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EFD78609-71DF-4F82-8B5F-133CCAB39ABF}"/>
              </a:ext>
            </a:extLst>
          </p:cNvPr>
          <p:cNvSpPr>
            <a:spLocks noGrp="1"/>
          </p:cNvSpPr>
          <p:nvPr>
            <p:ph type="title"/>
          </p:nvPr>
        </p:nvSpPr>
        <p:spPr>
          <a:xfrm>
            <a:off x="630079" y="565196"/>
            <a:ext cx="4819436" cy="615553"/>
          </a:xfrm>
        </p:spPr>
        <p:txBody>
          <a:bodyPr/>
          <a:lstStyle/>
          <a:p>
            <a:r>
              <a:rPr lang="nb-NO" dirty="0"/>
              <a:t>Ulovlig opphold</a:t>
            </a:r>
          </a:p>
        </p:txBody>
      </p:sp>
      <p:pic>
        <p:nvPicPr>
          <p:cNvPr id="5" name="Plassholder for innhold 4" descr="Illustrasjon av et norgeskart med et rødt kryss">
            <a:extLst>
              <a:ext uri="{FF2B5EF4-FFF2-40B4-BE49-F238E27FC236}">
                <a16:creationId xmlns:a16="http://schemas.microsoft.com/office/drawing/2014/main" id="{9655162D-96DF-46C1-A513-EC9040972E52}"/>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160454" y="565150"/>
            <a:ext cx="5028880" cy="5159375"/>
          </a:xfrm>
        </p:spPr>
      </p:pic>
    </p:spTree>
    <p:extLst>
      <p:ext uri="{BB962C8B-B14F-4D97-AF65-F5344CB8AC3E}">
        <p14:creationId xmlns:p14="http://schemas.microsoft.com/office/powerpoint/2010/main" val="16497139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97A0587E-693D-490F-884E-FD5E4723F3AA}"/>
              </a:ext>
            </a:extLst>
          </p:cNvPr>
          <p:cNvSpPr>
            <a:spLocks noGrp="1"/>
          </p:cNvSpPr>
          <p:nvPr>
            <p:ph type="title"/>
          </p:nvPr>
        </p:nvSpPr>
        <p:spPr/>
        <p:txBody>
          <a:bodyPr/>
          <a:lstStyle/>
          <a:p>
            <a:r>
              <a:rPr lang="nb-NO" dirty="0"/>
              <a:t>Barn under 18 år</a:t>
            </a:r>
          </a:p>
        </p:txBody>
      </p:sp>
      <p:pic>
        <p:nvPicPr>
          <p:cNvPr id="7" name="Plassholder for innhold 13" descr="Bilde av nettsiden asylbarn.no">
            <a:extLst>
              <a:ext uri="{FF2B5EF4-FFF2-40B4-BE49-F238E27FC236}">
                <a16:creationId xmlns:a16="http://schemas.microsoft.com/office/drawing/2014/main" id="{23B70171-D2AE-4419-A2B9-699E44DEFEDF}"/>
              </a:ext>
            </a:extLst>
          </p:cNvPr>
          <p:cNvPicPr>
            <a:picLocks noGrp="1" noChangeAspect="1"/>
          </p:cNvPicPr>
          <p:nvPr>
            <p:ph idx="15"/>
          </p:nvPr>
        </p:nvPicPr>
        <p:blipFill>
          <a:blip r:embed="rId3" cstate="print">
            <a:extLst>
              <a:ext uri="{28A0092B-C50C-407E-A947-70E740481C1C}">
                <a14:useLocalDpi xmlns:a14="http://schemas.microsoft.com/office/drawing/2010/main" val="0"/>
              </a:ext>
            </a:extLst>
          </a:blip>
          <a:stretch>
            <a:fillRect/>
          </a:stretch>
        </p:blipFill>
        <p:spPr>
          <a:xfrm>
            <a:off x="630238" y="1956333"/>
            <a:ext cx="5221287" cy="3396183"/>
          </a:xfrm>
        </p:spPr>
      </p:pic>
      <p:pic>
        <p:nvPicPr>
          <p:cNvPr id="6" name="Content Placeholder 5" descr="Bilde av to søsken">
            <a:extLst>
              <a:ext uri="{FF2B5EF4-FFF2-40B4-BE49-F238E27FC236}">
                <a16:creationId xmlns:a16="http://schemas.microsoft.com/office/drawing/2014/main" id="{673243DD-9EDD-4A9F-B84E-475D239B3F72}"/>
              </a:ext>
            </a:extLst>
          </p:cNvPr>
          <p:cNvPicPr>
            <a:picLocks noGrp="1" noChangeAspect="1"/>
          </p:cNvPicPr>
          <p:nvPr>
            <p:ph sz="quarter" idx="16"/>
          </p:nvPr>
        </p:nvPicPr>
        <p:blipFill>
          <a:blip r:embed="rId4">
            <a:extLst>
              <a:ext uri="{28A0092B-C50C-407E-A947-70E740481C1C}">
                <a14:useLocalDpi xmlns:a14="http://schemas.microsoft.com/office/drawing/2010/main" val="0"/>
              </a:ext>
            </a:extLst>
          </a:blip>
          <a:stretch>
            <a:fillRect/>
          </a:stretch>
        </p:blipFill>
        <p:spPr>
          <a:xfrm>
            <a:off x="7966297" y="451901"/>
            <a:ext cx="2451769" cy="5272624"/>
          </a:xfrm>
        </p:spPr>
      </p:pic>
    </p:spTree>
    <p:extLst>
      <p:ext uri="{BB962C8B-B14F-4D97-AF65-F5344CB8AC3E}">
        <p14:creationId xmlns:p14="http://schemas.microsoft.com/office/powerpoint/2010/main" val="32513629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AA7CBD6F-68F2-4259-917F-CA88FEF20830}"/>
              </a:ext>
            </a:extLst>
          </p:cNvPr>
          <p:cNvSpPr>
            <a:spLocks noGrp="1"/>
          </p:cNvSpPr>
          <p:nvPr>
            <p:ph type="title"/>
          </p:nvPr>
        </p:nvSpPr>
        <p:spPr>
          <a:xfrm>
            <a:off x="630079" y="565196"/>
            <a:ext cx="4819436" cy="615553"/>
          </a:xfrm>
        </p:spPr>
        <p:txBody>
          <a:bodyPr/>
          <a:lstStyle/>
          <a:p>
            <a:r>
              <a:rPr lang="nb-NO" dirty="0"/>
              <a:t>Oppgave om retur</a:t>
            </a:r>
          </a:p>
        </p:txBody>
      </p:sp>
      <p:pic>
        <p:nvPicPr>
          <p:cNvPr id="5" name="Plassholder for innhold 4" descr="Illustrasjon på oppgave om retur">
            <a:extLst>
              <a:ext uri="{FF2B5EF4-FFF2-40B4-BE49-F238E27FC236}">
                <a16:creationId xmlns:a16="http://schemas.microsoft.com/office/drawing/2014/main" id="{3BB9FCE5-90A9-461C-8A2F-01F3E662D3F4}"/>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5869783" y="0"/>
            <a:ext cx="6624736" cy="6342549"/>
          </a:xfrm>
        </p:spPr>
      </p:pic>
    </p:spTree>
    <p:extLst>
      <p:ext uri="{BB962C8B-B14F-4D97-AF65-F5344CB8AC3E}">
        <p14:creationId xmlns:p14="http://schemas.microsoft.com/office/powerpoint/2010/main" val="101213802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86F3C8A3-F06A-4186-8103-1CEC5803AB35}"/>
              </a:ext>
            </a:extLst>
          </p:cNvPr>
          <p:cNvSpPr>
            <a:spLocks noGrp="1"/>
          </p:cNvSpPr>
          <p:nvPr>
            <p:ph type="title"/>
          </p:nvPr>
        </p:nvSpPr>
        <p:spPr>
          <a:xfrm>
            <a:off x="630079" y="565196"/>
            <a:ext cx="4819436" cy="1846659"/>
          </a:xfrm>
        </p:spPr>
        <p:txBody>
          <a:bodyPr/>
          <a:lstStyle/>
          <a:p>
            <a:r>
              <a:rPr lang="nb-NO" dirty="0"/>
              <a:t>Oppsummering av hvis du ikke får bli i Norge</a:t>
            </a:r>
          </a:p>
        </p:txBody>
      </p:sp>
      <p:pic>
        <p:nvPicPr>
          <p:cNvPr id="5" name="Plassholder for innhold 4">
            <a:extLst>
              <a:ext uri="{FF2B5EF4-FFF2-40B4-BE49-F238E27FC236}">
                <a16:creationId xmlns:a16="http://schemas.microsoft.com/office/drawing/2014/main" id="{C8ABED0A-C561-4BDB-8CBA-736632F12AFC}"/>
              </a:ext>
              <a:ext uri="{C183D7F6-B498-43B3-948B-1728B52AA6E4}">
                <adec:decorative xmlns:adec="http://schemas.microsoft.com/office/drawing/2017/decorative" val="1"/>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649773" y="565150"/>
            <a:ext cx="4050241" cy="5159375"/>
          </a:xfrm>
        </p:spPr>
      </p:pic>
    </p:spTree>
    <p:extLst>
      <p:ext uri="{BB962C8B-B14F-4D97-AF65-F5344CB8AC3E}">
        <p14:creationId xmlns:p14="http://schemas.microsoft.com/office/powerpoint/2010/main" val="276637684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8A506740-1EE5-4EF8-A9E8-34D21E04966B}"/>
              </a:ext>
            </a:extLst>
          </p:cNvPr>
          <p:cNvSpPr>
            <a:spLocks noGrp="1"/>
          </p:cNvSpPr>
          <p:nvPr>
            <p:ph type="title"/>
          </p:nvPr>
        </p:nvSpPr>
        <p:spPr/>
        <p:txBody>
          <a:bodyPr/>
          <a:lstStyle/>
          <a:p>
            <a:r>
              <a:rPr lang="nb-NO" dirty="0"/>
              <a:t>Neste tema</a:t>
            </a:r>
          </a:p>
        </p:txBody>
      </p:sp>
      <p:pic>
        <p:nvPicPr>
          <p:cNvPr id="9" name="Picture Placeholder 8">
            <a:extLst>
              <a:ext uri="{FF2B5EF4-FFF2-40B4-BE49-F238E27FC236}">
                <a16:creationId xmlns:a16="http://schemas.microsoft.com/office/drawing/2014/main" id="{BEE2753B-14E3-4428-8D37-C95B43F89829}"/>
              </a:ext>
              <a:ext uri="{C183D7F6-B498-43B3-948B-1728B52AA6E4}">
                <adec:decorative xmlns:adec="http://schemas.microsoft.com/office/drawing/2017/decorative" val="1"/>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t="9619" b="9619"/>
          <a:stretch>
            <a:fillRect/>
          </a:stretch>
        </p:blipFill>
        <p:spPr/>
      </p:pic>
    </p:spTree>
    <p:extLst>
      <p:ext uri="{BB962C8B-B14F-4D97-AF65-F5344CB8AC3E}">
        <p14:creationId xmlns:p14="http://schemas.microsoft.com/office/powerpoint/2010/main" val="223974790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67A5FE2-7C07-41F2-840D-86267922228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41194" y="1360022"/>
            <a:ext cx="10912786" cy="4139543"/>
          </a:xfrm>
          <a:prstGeom prst="rect">
            <a:avLst/>
          </a:prstGeom>
        </p:spPr>
      </p:pic>
      <p:pic>
        <p:nvPicPr>
          <p:cNvPr id="5" name="Bilde 8">
            <a:extLst>
              <a:ext uri="{FF2B5EF4-FFF2-40B4-BE49-F238E27FC236}">
                <a16:creationId xmlns:a16="http://schemas.microsoft.com/office/drawing/2014/main" id="{88C9DF89-A366-479C-BAF1-2CC3EC940A1D}"/>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9528" y="1584198"/>
            <a:ext cx="11436119" cy="4133096"/>
          </a:xfrm>
          <a:prstGeom prst="rect">
            <a:avLst/>
          </a:prstGeom>
        </p:spPr>
      </p:pic>
      <p:sp>
        <p:nvSpPr>
          <p:cNvPr id="6" name="Title 5">
            <a:extLst>
              <a:ext uri="{FF2B5EF4-FFF2-40B4-BE49-F238E27FC236}">
                <a16:creationId xmlns:a16="http://schemas.microsoft.com/office/drawing/2014/main" id="{F208871E-CD74-4056-8D1B-27710EB85979}"/>
              </a:ext>
            </a:extLst>
          </p:cNvPr>
          <p:cNvSpPr>
            <a:spLocks noGrp="1"/>
          </p:cNvSpPr>
          <p:nvPr>
            <p:ph type="title" idx="4294967295"/>
          </p:nvPr>
        </p:nvSpPr>
        <p:spPr>
          <a:xfrm>
            <a:off x="630079" y="-615553"/>
            <a:ext cx="10909364" cy="615553"/>
          </a:xfrm>
        </p:spPr>
        <p:txBody>
          <a:bodyPr vert="horz" lIns="0" tIns="0" rIns="0" bIns="0" rtlCol="0" anchor="b" anchorCtr="0">
            <a:spAutoFit/>
          </a:bodyPr>
          <a:lstStyle/>
          <a:p>
            <a:r>
              <a:rPr lang="nb-NO" dirty="0"/>
              <a:t>Siste side</a:t>
            </a:r>
          </a:p>
        </p:txBody>
      </p:sp>
      <p:sp>
        <p:nvSpPr>
          <p:cNvPr id="7" name="TekstSylinder 2">
            <a:extLst>
              <a:ext uri="{FF2B5EF4-FFF2-40B4-BE49-F238E27FC236}">
                <a16:creationId xmlns:a16="http://schemas.microsoft.com/office/drawing/2014/main" id="{07F1E44A-E87C-46E8-9B79-3945412B9CE1}"/>
              </a:ext>
            </a:extLst>
          </p:cNvPr>
          <p:cNvSpPr txBox="1"/>
          <p:nvPr/>
        </p:nvSpPr>
        <p:spPr>
          <a:xfrm>
            <a:off x="9665480" y="6225265"/>
            <a:ext cx="1399757" cy="386940"/>
          </a:xfrm>
          <a:prstGeom prst="rect">
            <a:avLst/>
          </a:prstGeom>
          <a:noFill/>
        </p:spPr>
        <p:txBody>
          <a:bodyPr wrap="none" lIns="108878" tIns="54439" rIns="108878" bIns="54439" rtlCol="0">
            <a:spAutoFit/>
          </a:bodyPr>
          <a:lstStyle/>
          <a:p>
            <a:r>
              <a:rPr lang="nb-NO" sz="1800" dirty="0">
                <a:solidFill>
                  <a:srgbClr val="C8373C"/>
                </a:solidFill>
              </a:rPr>
              <a:t>www.udi.no</a:t>
            </a:r>
          </a:p>
        </p:txBody>
      </p:sp>
      <p:pic>
        <p:nvPicPr>
          <p:cNvPr id="8" name="Bilde 11">
            <a:extLst>
              <a:ext uri="{FF2B5EF4-FFF2-40B4-BE49-F238E27FC236}">
                <a16:creationId xmlns:a16="http://schemas.microsoft.com/office/drawing/2014/main" id="{A4B38AC4-F40C-4941-9363-4791915CE18D}"/>
              </a:ext>
              <a:ext uri="{C183D7F6-B498-43B3-948B-1728B52AA6E4}">
                <adec:decorative xmlns:adec="http://schemas.microsoft.com/office/drawing/2017/decorative" val="1"/>
              </a:ext>
            </a:extLst>
          </p:cNvPr>
          <p:cNvPicPr>
            <a:picLocks noChangeAspect="1"/>
          </p:cNvPicPr>
          <p:nvPr/>
        </p:nvPicPr>
        <p:blipFill>
          <a:blip r:embed="rId5" cstate="print"/>
          <a:stretch>
            <a:fillRect/>
          </a:stretch>
        </p:blipFill>
        <p:spPr>
          <a:xfrm>
            <a:off x="0" y="0"/>
            <a:ext cx="1700035" cy="1068237"/>
          </a:xfrm>
          <a:prstGeom prst="rect">
            <a:avLst/>
          </a:prstGeom>
        </p:spPr>
      </p:pic>
      <p:pic>
        <p:nvPicPr>
          <p:cNvPr id="9" name="Bilde 12">
            <a:extLst>
              <a:ext uri="{FF2B5EF4-FFF2-40B4-BE49-F238E27FC236}">
                <a16:creationId xmlns:a16="http://schemas.microsoft.com/office/drawing/2014/main" id="{A9322DA1-1C92-41B4-A5F2-4EE1A1B78A5B}"/>
              </a:ext>
              <a:ext uri="{C183D7F6-B498-43B3-948B-1728B52AA6E4}">
                <adec:decorative xmlns:adec="http://schemas.microsoft.com/office/drawing/2017/decorative" val="1"/>
              </a:ext>
            </a:extLst>
          </p:cNvPr>
          <p:cNvPicPr>
            <a:picLocks noChangeAspect="1"/>
          </p:cNvPicPr>
          <p:nvPr/>
        </p:nvPicPr>
        <p:blipFill>
          <a:blip r:embed="rId6" cstate="print"/>
          <a:stretch>
            <a:fillRect/>
          </a:stretch>
        </p:blipFill>
        <p:spPr>
          <a:xfrm>
            <a:off x="0" y="5961769"/>
            <a:ext cx="2057499" cy="897818"/>
          </a:xfrm>
          <a:prstGeom prst="rect">
            <a:avLst/>
          </a:prstGeom>
        </p:spPr>
      </p:pic>
    </p:spTree>
    <p:extLst>
      <p:ext uri="{BB962C8B-B14F-4D97-AF65-F5344CB8AC3E}">
        <p14:creationId xmlns:p14="http://schemas.microsoft.com/office/powerpoint/2010/main" val="26608443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A97BB726-24AD-436C-B334-BE22558DEC63}"/>
              </a:ext>
            </a:extLst>
          </p:cNvPr>
          <p:cNvSpPr>
            <a:spLocks noGrp="1"/>
          </p:cNvSpPr>
          <p:nvPr>
            <p:ph type="title"/>
          </p:nvPr>
        </p:nvSpPr>
        <p:spPr>
          <a:xfrm>
            <a:off x="630079" y="565196"/>
            <a:ext cx="4819436" cy="615553"/>
          </a:xfrm>
        </p:spPr>
        <p:txBody>
          <a:bodyPr/>
          <a:lstStyle/>
          <a:p>
            <a:r>
              <a:rPr lang="nb-NO" dirty="0"/>
              <a:t>Statistikk</a:t>
            </a:r>
          </a:p>
        </p:txBody>
      </p:sp>
      <p:pic>
        <p:nvPicPr>
          <p:cNvPr id="6" name="Plassholder for innhold 10" descr="Bilde av et stolpediagram">
            <a:hlinkClick r:id="rId3"/>
            <a:extLst>
              <a:ext uri="{FF2B5EF4-FFF2-40B4-BE49-F238E27FC236}">
                <a16:creationId xmlns:a16="http://schemas.microsoft.com/office/drawing/2014/main" id="{71CF9A33-7718-4AE6-8819-544C5715B3F0}"/>
              </a:ext>
            </a:extLst>
          </p:cNvPr>
          <p:cNvPicPr>
            <a:picLocks noGrp="1" noChangeAspect="1"/>
          </p:cNvPicPr>
          <p:nvPr>
            <p:ph sz="quarter" idx="16"/>
          </p:nvPr>
        </p:nvPicPr>
        <p:blipFill>
          <a:blip r:embed="rId4" cstate="print">
            <a:extLst>
              <a:ext uri="{28A0092B-C50C-407E-A947-70E740481C1C}">
                <a14:useLocalDpi xmlns:a14="http://schemas.microsoft.com/office/drawing/2010/main" val="0"/>
              </a:ext>
            </a:extLst>
          </a:blip>
          <a:stretch>
            <a:fillRect/>
          </a:stretch>
        </p:blipFill>
        <p:spPr>
          <a:xfrm>
            <a:off x="4585419" y="807332"/>
            <a:ext cx="6594079" cy="5244923"/>
          </a:xfrm>
        </p:spPr>
      </p:pic>
    </p:spTree>
    <p:extLst>
      <p:ext uri="{BB962C8B-B14F-4D97-AF65-F5344CB8AC3E}">
        <p14:creationId xmlns:p14="http://schemas.microsoft.com/office/powerpoint/2010/main" val="22477521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4C3ABF9D-3390-4B1E-9A18-52200B6A3DDF}"/>
              </a:ext>
            </a:extLst>
          </p:cNvPr>
          <p:cNvSpPr>
            <a:spLocks noGrp="1"/>
          </p:cNvSpPr>
          <p:nvPr>
            <p:ph type="title"/>
          </p:nvPr>
        </p:nvSpPr>
        <p:spPr/>
        <p:txBody>
          <a:bodyPr/>
          <a:lstStyle/>
          <a:p>
            <a:r>
              <a:rPr lang="nb-NO" dirty="0"/>
              <a:t>Lovene</a:t>
            </a:r>
          </a:p>
        </p:txBody>
      </p:sp>
      <p:pic>
        <p:nvPicPr>
          <p:cNvPr id="7" name="Plassholder for innhold 6" descr="Bilde av en lovbok">
            <a:extLst>
              <a:ext uri="{FF2B5EF4-FFF2-40B4-BE49-F238E27FC236}">
                <a16:creationId xmlns:a16="http://schemas.microsoft.com/office/drawing/2014/main" id="{B6AB0D83-7045-4965-AA91-A572837B1C06}"/>
              </a:ext>
            </a:extLst>
          </p:cNvPr>
          <p:cNvPicPr>
            <a:picLocks noGrp="1" noChangeAspect="1"/>
          </p:cNvPicPr>
          <p:nvPr>
            <p:ph sz="quarter" idx="12"/>
          </p:nvPr>
        </p:nvPicPr>
        <p:blipFill>
          <a:blip r:embed="rId3">
            <a:extLst>
              <a:ext uri="{28A0092B-C50C-407E-A947-70E740481C1C}">
                <a14:useLocalDpi xmlns:a14="http://schemas.microsoft.com/office/drawing/2010/main" val="0"/>
              </a:ext>
            </a:extLst>
          </a:blip>
          <a:stretch>
            <a:fillRect/>
          </a:stretch>
        </p:blipFill>
        <p:spPr>
          <a:xfrm>
            <a:off x="2867369" y="1584325"/>
            <a:ext cx="6435037" cy="4140200"/>
          </a:xfrm>
        </p:spPr>
      </p:pic>
    </p:spTree>
    <p:extLst>
      <p:ext uri="{BB962C8B-B14F-4D97-AF65-F5344CB8AC3E}">
        <p14:creationId xmlns:p14="http://schemas.microsoft.com/office/powerpoint/2010/main" val="27436209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C68CA945-487B-4A03-832E-10C0A483CBDE}"/>
              </a:ext>
            </a:extLst>
          </p:cNvPr>
          <p:cNvSpPr>
            <a:spLocks noGrp="1"/>
          </p:cNvSpPr>
          <p:nvPr>
            <p:ph type="title"/>
          </p:nvPr>
        </p:nvSpPr>
        <p:spPr>
          <a:xfrm>
            <a:off x="630079" y="565196"/>
            <a:ext cx="4819436" cy="615553"/>
          </a:xfrm>
        </p:spPr>
        <p:txBody>
          <a:bodyPr/>
          <a:lstStyle/>
          <a:p>
            <a:r>
              <a:rPr lang="nb-NO" dirty="0"/>
              <a:t>Oppgave asyl</a:t>
            </a:r>
          </a:p>
        </p:txBody>
      </p:sp>
      <p:pic>
        <p:nvPicPr>
          <p:cNvPr id="5" name="Plassholder for innhold 4" descr="Illustrasjon på en oppgave om asyl">
            <a:extLst>
              <a:ext uri="{FF2B5EF4-FFF2-40B4-BE49-F238E27FC236}">
                <a16:creationId xmlns:a16="http://schemas.microsoft.com/office/drawing/2014/main" id="{367AD4B9-9C10-4DEA-83DA-D396653CBCBA}"/>
              </a:ext>
            </a:extLst>
          </p:cNvPr>
          <p:cNvPicPr>
            <a:picLocks noGrp="1" noChangeAspect="1"/>
          </p:cNvPicPr>
          <p:nvPr>
            <p:ph sz="quarter" idx="16"/>
          </p:nvPr>
        </p:nvPicPr>
        <p:blipFill rotWithShape="1">
          <a:blip r:embed="rId3">
            <a:extLst>
              <a:ext uri="{28A0092B-C50C-407E-A947-70E740481C1C}">
                <a14:useLocalDpi xmlns:a14="http://schemas.microsoft.com/office/drawing/2010/main" val="0"/>
              </a:ext>
            </a:extLst>
          </a:blip>
          <a:srcRect l="2086" t="6536" r="18636" b="1942"/>
          <a:stretch/>
        </p:blipFill>
        <p:spPr>
          <a:xfrm>
            <a:off x="5665538" y="189434"/>
            <a:ext cx="5472609" cy="6048672"/>
          </a:xfrm>
        </p:spPr>
      </p:pic>
    </p:spTree>
    <p:extLst>
      <p:ext uri="{BB962C8B-B14F-4D97-AF65-F5344CB8AC3E}">
        <p14:creationId xmlns:p14="http://schemas.microsoft.com/office/powerpoint/2010/main" val="6286523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l5sPLUfzkKxHv5EW_S9f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qz5K2oKwkS7ov3rBsZ1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iPyO_DSL0yeGUN4eHbDZ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l5sPLUfzkKxHv5EW_S9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qz5K2oKwkS7ov3rBsZ1N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iPyO_DSL0yeGUN4eHbDZ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_czQXjuHUiHwZ2kCTJl0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_czQXjuHUiHwZ2kCTJl0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kWBRRECi0WINL2dmoWH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l.rl9oZH0yt1Mi.dN2z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l5sPLUfzkKxHv5EW_S9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qz5K2oKwkS7ov3rBsZ1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iPyO_DSL0yeGUN4eHbDZ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UDI PPT NY">
      <a:dk1>
        <a:sysClr val="windowText" lastClr="000000"/>
      </a:dk1>
      <a:lt1>
        <a:sysClr val="window" lastClr="FFFFFF"/>
      </a:lt1>
      <a:dk2>
        <a:srgbClr val="000000"/>
      </a:dk2>
      <a:lt2>
        <a:srgbClr val="FFFFFF"/>
      </a:lt2>
      <a:accent1>
        <a:srgbClr val="32A77A"/>
      </a:accent1>
      <a:accent2>
        <a:srgbClr val="FFCF54"/>
      </a:accent2>
      <a:accent3>
        <a:srgbClr val="643064"/>
      </a:accent3>
      <a:accent4>
        <a:srgbClr val="60C6CD"/>
      </a:accent4>
      <a:accent5>
        <a:srgbClr val="000000"/>
      </a:accent5>
      <a:accent6>
        <a:srgbClr val="F58C46"/>
      </a:accent6>
      <a:hlink>
        <a:srgbClr val="C8373C"/>
      </a:hlink>
      <a:folHlink>
        <a:srgbClr val="6E1E20"/>
      </a:folHlink>
    </a:clrScheme>
    <a:fontScheme name="Santand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_mal_2017_widescreen.potx" id="{78241C34-96BA-4D13-8755-A24068E4A0F3}" vid="{3E6ED808-8880-4159-BC65-B9CDF1280655}"/>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16cfb6d1-a846-4e1d-a8a6-d03967cbb927">
      <UserInfo>
        <DisplayName>Liv Karin Eilevstad</DisplayName>
        <AccountId>203</AccountId>
        <AccountType/>
      </UserInfo>
      <UserInfo>
        <DisplayName>Trude Steen</DisplayName>
        <AccountId>71</AccountId>
        <AccountType/>
      </UserInfo>
      <UserInfo>
        <DisplayName>Malin Andersen</DisplayName>
        <AccountId>2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6810FEDCF5FF5E45809D9038A98CB761" ma:contentTypeVersion="9" ma:contentTypeDescription="Opprett et nytt dokument." ma:contentTypeScope="" ma:versionID="e0b6494ed1e7f35e5a5d54c22a958f8e">
  <xsd:schema xmlns:xsd="http://www.w3.org/2001/XMLSchema" xmlns:xs="http://www.w3.org/2001/XMLSchema" xmlns:p="http://schemas.microsoft.com/office/2006/metadata/properties" xmlns:ns2="87a5da6a-6585-4546-bc73-62059fe5bfad" xmlns:ns3="16cfb6d1-a846-4e1d-a8a6-d03967cbb927" targetNamespace="http://schemas.microsoft.com/office/2006/metadata/properties" ma:root="true" ma:fieldsID="9d24c360e7b46337e8decc51fd61c952" ns2:_="" ns3:_="">
    <xsd:import namespace="87a5da6a-6585-4546-bc73-62059fe5bfad"/>
    <xsd:import namespace="16cfb6d1-a846-4e1d-a8a6-d03967cbb92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a5da6a-6585-4546-bc73-62059fe5bfa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6cfb6d1-a846-4e1d-a8a6-d03967cbb927" elementFormDefault="qualified">
    <xsd:import namespace="http://schemas.microsoft.com/office/2006/documentManagement/types"/>
    <xsd:import namespace="http://schemas.microsoft.com/office/infopath/2007/PartnerControls"/>
    <xsd:element name="SharedWithUsers" ma:index="10"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ings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2D43F3E-D6A5-4F03-9A2D-4311103E4EB5}">
  <ds:schemaRefs>
    <ds:schemaRef ds:uri="http://schemas.openxmlformats.org/package/2006/metadata/core-properties"/>
    <ds:schemaRef ds:uri="http://www.w3.org/XML/1998/namespace"/>
    <ds:schemaRef ds:uri="87a5da6a-6585-4546-bc73-62059fe5bfad"/>
    <ds:schemaRef ds:uri="http://schemas.microsoft.com/office/2006/documentManagement/types"/>
    <ds:schemaRef ds:uri="http://purl.org/dc/terms/"/>
    <ds:schemaRef ds:uri="16cfb6d1-a846-4e1d-a8a6-d03967cbb927"/>
    <ds:schemaRef ds:uri="http://purl.org/dc/dcmitype/"/>
    <ds:schemaRef ds:uri="http://purl.org/dc/elements/1.1/"/>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BF462C84-8CE0-4721-8B0E-1C522173EF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a5da6a-6585-4546-bc73-62059fe5bfad"/>
    <ds:schemaRef ds:uri="16cfb6d1-a846-4e1d-a8a6-d03967cbb92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0D0240B-25DD-4B12-8B91-FC83C95D817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UDIs presentasjonsmal</Template>
  <TotalTime>14983</TotalTime>
  <Words>14203</Words>
  <Application>Microsoft Office PowerPoint</Application>
  <PresentationFormat>Egendefinert</PresentationFormat>
  <Paragraphs>1075</Paragraphs>
  <Slides>63</Slides>
  <Notes>63</Notes>
  <HiddenSlides>0</HiddenSlides>
  <MMClips>0</MMClips>
  <ScaleCrop>false</ScaleCrop>
  <HeadingPairs>
    <vt:vector size="8" baseType="variant">
      <vt:variant>
        <vt:lpstr>Brukte skrifter</vt:lpstr>
      </vt:variant>
      <vt:variant>
        <vt:i4>4</vt:i4>
      </vt:variant>
      <vt:variant>
        <vt:lpstr>Tema</vt:lpstr>
      </vt:variant>
      <vt:variant>
        <vt:i4>1</vt:i4>
      </vt:variant>
      <vt:variant>
        <vt:lpstr>Innebygde OLE-servere</vt:lpstr>
      </vt:variant>
      <vt:variant>
        <vt:i4>1</vt:i4>
      </vt:variant>
      <vt:variant>
        <vt:lpstr>Lysbildetitler</vt:lpstr>
      </vt:variant>
      <vt:variant>
        <vt:i4>63</vt:i4>
      </vt:variant>
    </vt:vector>
  </HeadingPairs>
  <TitlesOfParts>
    <vt:vector size="69" baseType="lpstr">
      <vt:lpstr>Arial</vt:lpstr>
      <vt:lpstr>Calibri</vt:lpstr>
      <vt:lpstr>Courier New</vt:lpstr>
      <vt:lpstr>Wingdings</vt:lpstr>
      <vt:lpstr>Office-tema</vt:lpstr>
      <vt:lpstr>think-cell Slide</vt:lpstr>
      <vt:lpstr>PowerPoint-presentasjon</vt:lpstr>
      <vt:lpstr>Asylprosessen</vt:lpstr>
      <vt:lpstr>Informasjonsprogrammet</vt:lpstr>
      <vt:lpstr>Beskyttelse</vt:lpstr>
      <vt:lpstr>Asylprosessen </vt:lpstr>
      <vt:lpstr>Barn under 18 år</vt:lpstr>
      <vt:lpstr>Statistikk</vt:lpstr>
      <vt:lpstr>Lovene</vt:lpstr>
      <vt:lpstr>Oppgave asyl</vt:lpstr>
      <vt:lpstr>Asylprosessen i Norge</vt:lpstr>
      <vt:lpstr>Hvem møter du?</vt:lpstr>
      <vt:lpstr>Politiet</vt:lpstr>
      <vt:lpstr>Tolk</vt:lpstr>
      <vt:lpstr>Asylmottak</vt:lpstr>
      <vt:lpstr>NOAS</vt:lpstr>
      <vt:lpstr>UDI</vt:lpstr>
      <vt:lpstr>Advokat</vt:lpstr>
      <vt:lpstr>IMDi</vt:lpstr>
      <vt:lpstr>UNE</vt:lpstr>
      <vt:lpstr>IOM</vt:lpstr>
      <vt:lpstr>Oppsummering</vt:lpstr>
      <vt:lpstr>Du søkte</vt:lpstr>
      <vt:lpstr>Nasjonalt ankomstsenter</vt:lpstr>
      <vt:lpstr>Dublin-samarbeidet</vt:lpstr>
      <vt:lpstr>Du venter på svar</vt:lpstr>
      <vt:lpstr>Nye opplysninger</vt:lpstr>
      <vt:lpstr>Arbeid</vt:lpstr>
      <vt:lpstr>Familieinnvandring</vt:lpstr>
      <vt:lpstr>Opplæring</vt:lpstr>
      <vt:lpstr>Kompetanse</vt:lpstr>
      <vt:lpstr>Barn</vt:lpstr>
      <vt:lpstr>Bo utenfor mottak</vt:lpstr>
      <vt:lpstr>Søknaden din</vt:lpstr>
      <vt:lpstr>Ventetid</vt:lpstr>
      <vt:lpstr>Oppgave om ventetid</vt:lpstr>
      <vt:lpstr>www.udi.no  23 35 16 00</vt:lpstr>
      <vt:lpstr>Trekke søknaden</vt:lpstr>
      <vt:lpstr>Oppsummering av du venter på svar</vt:lpstr>
      <vt:lpstr>Du har fått svar</vt:lpstr>
      <vt:lpstr>Du får bli i Norge</vt:lpstr>
      <vt:lpstr>Beskyttelse (asyl)</vt:lpstr>
      <vt:lpstr>Familieinnvandring ved  beskyttelse</vt:lpstr>
      <vt:lpstr>Sterke, menneskelige hensyn</vt:lpstr>
      <vt:lpstr>Begrenset tillatelse</vt:lpstr>
      <vt:lpstr>Samtale om bosetting</vt:lpstr>
      <vt:lpstr>Hvis du ikke bor på mottaket</vt:lpstr>
      <vt:lpstr>Oppgave om rettigheter</vt:lpstr>
      <vt:lpstr>Tilbakekall av tillatelsen</vt:lpstr>
      <vt:lpstr>Utvisning</vt:lpstr>
      <vt:lpstr>Oppsummering av du får svar</vt:lpstr>
      <vt:lpstr>Du får ikke bli i Norge</vt:lpstr>
      <vt:lpstr>Hjelp av advokat</vt:lpstr>
      <vt:lpstr>Frist for utreise</vt:lpstr>
      <vt:lpstr>Oppgave om avslag</vt:lpstr>
      <vt:lpstr>UNE behandler klagen</vt:lpstr>
      <vt:lpstr>Samtale om retur</vt:lpstr>
      <vt:lpstr>Barn og retur</vt:lpstr>
      <vt:lpstr>Reise hjem</vt:lpstr>
      <vt:lpstr>Ulovlig opphold</vt:lpstr>
      <vt:lpstr>Oppgave om retur</vt:lpstr>
      <vt:lpstr>Oppsummering av hvis du ikke får bli i Norge</vt:lpstr>
      <vt:lpstr>Neste tema</vt:lpstr>
      <vt:lpstr>Siste side</vt:lpstr>
    </vt:vector>
  </TitlesOfParts>
  <Company>UD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Utlendingsdirektoratet</dc:creator>
  <dc:description>Template by addpoint.no</dc:description>
  <cp:lastModifiedBy>Malin Andersen</cp:lastModifiedBy>
  <cp:revision>57</cp:revision>
  <dcterms:created xsi:type="dcterms:W3CDTF">2020-11-13T11:55:31Z</dcterms:created>
  <dcterms:modified xsi:type="dcterms:W3CDTF">2021-05-31T14:4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by">
    <vt:lpwstr>addpoint.no</vt:lpwstr>
  </property>
  <property fmtid="{D5CDD505-2E9C-101B-9397-08002B2CF9AE}" pid="3" name="ContentTypeId">
    <vt:lpwstr>0x0101006810FEDCF5FF5E45809D9038A98CB761</vt:lpwstr>
  </property>
  <property fmtid="{D5CDD505-2E9C-101B-9397-08002B2CF9AE}" pid="4" name="Order">
    <vt:r8>132200</vt:r8>
  </property>
  <property fmtid="{D5CDD505-2E9C-101B-9397-08002B2CF9AE}" pid="5" name="xd_Signature">
    <vt:bool>false</vt:bool>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MSIP_Label_8cd81a8e-f606-4aa4-8c31-9b849bafa45f_Enabled">
    <vt:lpwstr>True</vt:lpwstr>
  </property>
  <property fmtid="{D5CDD505-2E9C-101B-9397-08002B2CF9AE}" pid="10" name="MSIP_Label_8cd81a8e-f606-4aa4-8c31-9b849bafa45f_SiteId">
    <vt:lpwstr>e6f99e46-872e-44a5-87e4-60a888e95a1c</vt:lpwstr>
  </property>
  <property fmtid="{D5CDD505-2E9C-101B-9397-08002B2CF9AE}" pid="11" name="MSIP_Label_8cd81a8e-f606-4aa4-8c31-9b849bafa45f_Owner">
    <vt:lpwstr>maan@udi.no</vt:lpwstr>
  </property>
  <property fmtid="{D5CDD505-2E9C-101B-9397-08002B2CF9AE}" pid="12" name="MSIP_Label_8cd81a8e-f606-4aa4-8c31-9b849bafa45f_SetDate">
    <vt:lpwstr>2020-11-13T16:41:48.3070687Z</vt:lpwstr>
  </property>
  <property fmtid="{D5CDD505-2E9C-101B-9397-08002B2CF9AE}" pid="13" name="MSIP_Label_8cd81a8e-f606-4aa4-8c31-9b849bafa45f_Name">
    <vt:lpwstr>Intern</vt:lpwstr>
  </property>
  <property fmtid="{D5CDD505-2E9C-101B-9397-08002B2CF9AE}" pid="14" name="MSIP_Label_8cd81a8e-f606-4aa4-8c31-9b849bafa45f_Application">
    <vt:lpwstr>Microsoft Azure Information Protection</vt:lpwstr>
  </property>
  <property fmtid="{D5CDD505-2E9C-101B-9397-08002B2CF9AE}" pid="15" name="MSIP_Label_8cd81a8e-f606-4aa4-8c31-9b849bafa45f_ActionId">
    <vt:lpwstr>02ca5562-2123-472f-96c6-1f2993685ac8</vt:lpwstr>
  </property>
  <property fmtid="{D5CDD505-2E9C-101B-9397-08002B2CF9AE}" pid="16" name="MSIP_Label_8cd81a8e-f606-4aa4-8c31-9b849bafa45f_Extended_MSFT_Method">
    <vt:lpwstr>Automatic</vt:lpwstr>
  </property>
  <property fmtid="{D5CDD505-2E9C-101B-9397-08002B2CF9AE}" pid="17" name="Sensitivity">
    <vt:lpwstr>Intern</vt:lpwstr>
  </property>
</Properties>
</file>